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3"/>
  </p:notesMasterIdLst>
  <p:sldIdLst>
    <p:sldId id="518" r:id="rId2"/>
    <p:sldId id="500" r:id="rId3"/>
    <p:sldId id="514" r:id="rId4"/>
    <p:sldId id="512" r:id="rId5"/>
    <p:sldId id="515" r:id="rId6"/>
    <p:sldId id="508" r:id="rId7"/>
    <p:sldId id="513" r:id="rId8"/>
    <p:sldId id="516" r:id="rId9"/>
    <p:sldId id="517" r:id="rId10"/>
    <p:sldId id="501" r:id="rId11"/>
    <p:sldId id="502" r:id="rId12"/>
  </p:sldIdLst>
  <p:sldSz cx="9144000" cy="6858000" type="screen4x3"/>
  <p:notesSz cx="6794500" cy="9931400"/>
  <p:custDataLst>
    <p:tags r:id="rId1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7E"/>
    <a:srgbClr val="EAD87E"/>
    <a:srgbClr val="EAB77E"/>
    <a:srgbClr val="EA987E"/>
    <a:srgbClr val="C9E561"/>
    <a:srgbClr val="B7ECF3"/>
    <a:srgbClr val="3EDE32"/>
    <a:srgbClr val="77E86E"/>
    <a:srgbClr val="AAF1A5"/>
    <a:srgbClr val="C1E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CD7E6B-2C8E-405B-A237-843B9FC9D457}" v="291" dt="2022-04-24T19:40:40.606"/>
    <p1510:client id="{E2A072EC-0FB7-4427-8947-EFC664D98567}" v="2" dt="2022-04-24T20:09:57.6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566" autoAdjust="0"/>
    <p:restoredTop sz="96238" autoAdjust="0"/>
  </p:normalViewPr>
  <p:slideViewPr>
    <p:cSldViewPr showGuides="1">
      <p:cViewPr varScale="1">
        <p:scale>
          <a:sx n="107" d="100"/>
          <a:sy n="107" d="100"/>
        </p:scale>
        <p:origin x="2004" y="96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1628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ur bonsen georg" userId="5444515566c7376a" providerId="LiveId" clId="{18CD7E6B-2C8E-405B-A237-843B9FC9D457}"/>
    <pc:docChg chg="undo redo custSel addSld delSld modSld sldOrd">
      <pc:chgData name="zur bonsen georg" userId="5444515566c7376a" providerId="LiveId" clId="{18CD7E6B-2C8E-405B-A237-843B9FC9D457}" dt="2022-04-24T19:41:43.795" v="12845" actId="114"/>
      <pc:docMkLst>
        <pc:docMk/>
      </pc:docMkLst>
      <pc:sldChg chg="addSp delSp modSp mod">
        <pc:chgData name="zur bonsen georg" userId="5444515566c7376a" providerId="LiveId" clId="{18CD7E6B-2C8E-405B-A237-843B9FC9D457}" dt="2022-04-09T10:07:08.913" v="1397" actId="14100"/>
        <pc:sldMkLst>
          <pc:docMk/>
          <pc:sldMk cId="3131759380" sldId="398"/>
        </pc:sldMkLst>
        <pc:spChg chg="del">
          <ac:chgData name="zur bonsen georg" userId="5444515566c7376a" providerId="LiveId" clId="{18CD7E6B-2C8E-405B-A237-843B9FC9D457}" dt="2022-04-09T09:36:57.065" v="132" actId="478"/>
          <ac:spMkLst>
            <pc:docMk/>
            <pc:sldMk cId="3131759380" sldId="398"/>
            <ac:spMk id="3" creationId="{77BCABCA-1510-4BD2-A643-878B335C93CC}"/>
          </ac:spMkLst>
        </pc:spChg>
        <pc:spChg chg="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12" creationId="{964A7BF0-E985-451A-B8FE-A83AB8E1F9A3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14" creationId="{B8B58D71-141A-4F3C-AD06-0DF78C6C134E}"/>
          </ac:spMkLst>
        </pc:spChg>
        <pc:spChg chg="add del mod ord">
          <ac:chgData name="zur bonsen georg" userId="5444515566c7376a" providerId="LiveId" clId="{18CD7E6B-2C8E-405B-A237-843B9FC9D457}" dt="2022-04-09T09:55:23.066" v="950" actId="478"/>
          <ac:spMkLst>
            <pc:docMk/>
            <pc:sldMk cId="3131759380" sldId="398"/>
            <ac:spMk id="17" creationId="{44109132-1032-4575-8E5F-0213440435D4}"/>
          </ac:spMkLst>
        </pc:spChg>
        <pc:spChg chg="mod">
          <ac:chgData name="zur bonsen georg" userId="5444515566c7376a" providerId="LiveId" clId="{18CD7E6B-2C8E-405B-A237-843B9FC9D457}" dt="2022-04-09T10:05:12.887" v="1317" actId="20577"/>
          <ac:spMkLst>
            <pc:docMk/>
            <pc:sldMk cId="3131759380" sldId="398"/>
            <ac:spMk id="18" creationId="{F67FD3A2-ABB9-45DE-BA9C-303163671948}"/>
          </ac:spMkLst>
        </pc:spChg>
        <pc:spChg chg="del mod">
          <ac:chgData name="zur bonsen georg" userId="5444515566c7376a" providerId="LiveId" clId="{18CD7E6B-2C8E-405B-A237-843B9FC9D457}" dt="2022-04-09T09:47:00.606" v="504" actId="478"/>
          <ac:spMkLst>
            <pc:docMk/>
            <pc:sldMk cId="3131759380" sldId="398"/>
            <ac:spMk id="36" creationId="{DEEF7DD9-0F09-4832-9A45-3EFFC0D358BE}"/>
          </ac:spMkLst>
        </pc:spChg>
        <pc:spChg chg="del">
          <ac:chgData name="zur bonsen georg" userId="5444515566c7376a" providerId="LiveId" clId="{18CD7E6B-2C8E-405B-A237-843B9FC9D457}" dt="2022-04-09T09:38:19.100" v="253" actId="478"/>
          <ac:spMkLst>
            <pc:docMk/>
            <pc:sldMk cId="3131759380" sldId="398"/>
            <ac:spMk id="38" creationId="{5F9731D7-7908-483E-93FC-67CE2AF5385D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40" creationId="{CC735710-683A-4F58-92BB-C0302AF04B30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42" creationId="{12AA0730-F57C-448A-AD1F-EC87DC27F205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48" creationId="{F2CA6AF3-0270-45E8-8070-ADF967272428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49" creationId="{F2D4CBD8-89AC-4913-A233-BF4A45765F84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50" creationId="{6231599F-DC1A-406C-8664-B6EDBF11697B}"/>
          </ac:spMkLst>
        </pc:spChg>
        <pc:spChg chg="mod">
          <ac:chgData name="zur bonsen georg" userId="5444515566c7376a" providerId="LiveId" clId="{18CD7E6B-2C8E-405B-A237-843B9FC9D457}" dt="2022-04-09T09:57:06.525" v="1061" actId="20577"/>
          <ac:spMkLst>
            <pc:docMk/>
            <pc:sldMk cId="3131759380" sldId="398"/>
            <ac:spMk id="57" creationId="{BBE41B35-2F80-42A7-A270-BB33E695D11C}"/>
          </ac:spMkLst>
        </pc:spChg>
        <pc:spChg chg="mod">
          <ac:chgData name="zur bonsen georg" userId="5444515566c7376a" providerId="LiveId" clId="{18CD7E6B-2C8E-405B-A237-843B9FC9D457}" dt="2022-04-09T10:00:36.535" v="1290" actId="20577"/>
          <ac:spMkLst>
            <pc:docMk/>
            <pc:sldMk cId="3131759380" sldId="398"/>
            <ac:spMk id="58" creationId="{795074BF-E5A1-48F0-ABD9-6681637262FA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62" creationId="{47A6AC1E-3493-4245-A6D6-6C596AD17620}"/>
          </ac:spMkLst>
        </pc:spChg>
        <pc:spChg chg="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64" creationId="{14999E4D-C16E-4AFE-AB25-9041CE49133C}"/>
          </ac:spMkLst>
        </pc:spChg>
        <pc:spChg chg="del mod">
          <ac:chgData name="zur bonsen georg" userId="5444515566c7376a" providerId="LiveId" clId="{18CD7E6B-2C8E-405B-A237-843B9FC9D457}" dt="2022-04-09T09:48:31.075" v="630" actId="478"/>
          <ac:spMkLst>
            <pc:docMk/>
            <pc:sldMk cId="3131759380" sldId="398"/>
            <ac:spMk id="66" creationId="{B786CCE6-6D0B-446F-B834-465FBAD7B347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67" creationId="{EFA8FD6F-8AAD-41B9-B976-D10FBC45A9AB}"/>
          </ac:spMkLst>
        </pc:spChg>
        <pc:spChg chg="mod">
          <ac:chgData name="zur bonsen georg" userId="5444515566c7376a" providerId="LiveId" clId="{18CD7E6B-2C8E-405B-A237-843B9FC9D457}" dt="2022-04-09T09:47:54.668" v="627" actId="20577"/>
          <ac:spMkLst>
            <pc:docMk/>
            <pc:sldMk cId="3131759380" sldId="398"/>
            <ac:spMk id="70" creationId="{66F6B636-CC14-45EC-A21B-17EB762B80F6}"/>
          </ac:spMkLst>
        </pc:spChg>
        <pc:spChg chg="add del mod">
          <ac:chgData name="zur bonsen georg" userId="5444515566c7376a" providerId="LiveId" clId="{18CD7E6B-2C8E-405B-A237-843B9FC9D457}" dt="2022-04-09T09:47:49.961" v="621" actId="478"/>
          <ac:spMkLst>
            <pc:docMk/>
            <pc:sldMk cId="3131759380" sldId="398"/>
            <ac:spMk id="73" creationId="{4540AB99-AC0A-43C8-A246-15B35C3EA486}"/>
          </ac:spMkLst>
        </pc:spChg>
        <pc:spChg chg="add mod">
          <ac:chgData name="zur bonsen georg" userId="5444515566c7376a" providerId="LiveId" clId="{18CD7E6B-2C8E-405B-A237-843B9FC9D457}" dt="2022-04-09T10:03:59.913" v="1294" actId="1035"/>
          <ac:spMkLst>
            <pc:docMk/>
            <pc:sldMk cId="3131759380" sldId="398"/>
            <ac:spMk id="74" creationId="{3213BAC2-0569-43DD-87D2-81F95D95DECE}"/>
          </ac:spMkLst>
        </pc:spChg>
        <pc:spChg chg="add mod">
          <ac:chgData name="zur bonsen georg" userId="5444515566c7376a" providerId="LiveId" clId="{18CD7E6B-2C8E-405B-A237-843B9FC9D457}" dt="2022-04-09T10:03:59.913" v="1294" actId="1035"/>
          <ac:spMkLst>
            <pc:docMk/>
            <pc:sldMk cId="3131759380" sldId="398"/>
            <ac:spMk id="75" creationId="{35BD99F5-4322-48C1-8BFF-57FE539B2F21}"/>
          </ac:spMkLst>
        </pc:spChg>
        <pc:spChg chg="add 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76" creationId="{179BDC43-722A-4B80-8071-BEB016032439}"/>
          </ac:spMkLst>
        </pc:spChg>
        <pc:spChg chg="add del mod">
          <ac:chgData name="zur bonsen georg" userId="5444515566c7376a" providerId="LiveId" clId="{18CD7E6B-2C8E-405B-A237-843B9FC9D457}" dt="2022-04-09T09:59:03.756" v="1175" actId="478"/>
          <ac:spMkLst>
            <pc:docMk/>
            <pc:sldMk cId="3131759380" sldId="398"/>
            <ac:spMk id="77" creationId="{F99807DE-49EA-4459-ACA6-6F2389FE5B5C}"/>
          </ac:spMkLst>
        </pc:spChg>
        <pc:spChg chg="add del mod">
          <ac:chgData name="zur bonsen georg" userId="5444515566c7376a" providerId="LiveId" clId="{18CD7E6B-2C8E-405B-A237-843B9FC9D457}" dt="2022-04-09T09:51:09.513" v="699" actId="478"/>
          <ac:spMkLst>
            <pc:docMk/>
            <pc:sldMk cId="3131759380" sldId="398"/>
            <ac:spMk id="79" creationId="{CFEF7475-E36C-4993-B27E-C282730D43FB}"/>
          </ac:spMkLst>
        </pc:spChg>
        <pc:spChg chg="add del mod">
          <ac:chgData name="zur bonsen georg" userId="5444515566c7376a" providerId="LiveId" clId="{18CD7E6B-2C8E-405B-A237-843B9FC9D457}" dt="2022-04-09T09:55:38.621" v="959" actId="478"/>
          <ac:spMkLst>
            <pc:docMk/>
            <pc:sldMk cId="3131759380" sldId="398"/>
            <ac:spMk id="80" creationId="{4929BE7C-F824-4232-9640-E8267975ED2A}"/>
          </ac:spMkLst>
        </pc:spChg>
        <pc:spChg chg="add del mod">
          <ac:chgData name="zur bonsen georg" userId="5444515566c7376a" providerId="LiveId" clId="{18CD7E6B-2C8E-405B-A237-843B9FC9D457}" dt="2022-04-09T09:55:24.402" v="951" actId="478"/>
          <ac:spMkLst>
            <pc:docMk/>
            <pc:sldMk cId="3131759380" sldId="398"/>
            <ac:spMk id="81" creationId="{36131E61-9176-48A7-B173-B11E58DCD685}"/>
          </ac:spMkLst>
        </pc:spChg>
        <pc:spChg chg="add del mod">
          <ac:chgData name="zur bonsen georg" userId="5444515566c7376a" providerId="LiveId" clId="{18CD7E6B-2C8E-405B-A237-843B9FC9D457}" dt="2022-04-09T09:54:11.659" v="837" actId="478"/>
          <ac:spMkLst>
            <pc:docMk/>
            <pc:sldMk cId="3131759380" sldId="398"/>
            <ac:spMk id="83" creationId="{F1B2C096-59CE-4CD1-96FD-92D2699BD8B8}"/>
          </ac:spMkLst>
        </pc:spChg>
        <pc:spChg chg="mod">
          <ac:chgData name="zur bonsen georg" userId="5444515566c7376a" providerId="LiveId" clId="{18CD7E6B-2C8E-405B-A237-843B9FC9D457}" dt="2022-04-09T09:56:48.267" v="1059" actId="20577"/>
          <ac:spMkLst>
            <pc:docMk/>
            <pc:sldMk cId="3131759380" sldId="398"/>
            <ac:spMk id="86" creationId="{509A4ED7-ED07-4563-A5AF-25BE527102A3}"/>
          </ac:spMkLst>
        </pc:spChg>
        <pc:spChg chg="add mod">
          <ac:chgData name="zur bonsen georg" userId="5444515566c7376a" providerId="LiveId" clId="{18CD7E6B-2C8E-405B-A237-843B9FC9D457}" dt="2022-04-09T09:54:19.701" v="840" actId="571"/>
          <ac:spMkLst>
            <pc:docMk/>
            <pc:sldMk cId="3131759380" sldId="398"/>
            <ac:spMk id="87" creationId="{D6C158D8-191B-442E-B975-7E39AFAF8EE8}"/>
          </ac:spMkLst>
        </pc:spChg>
        <pc:spChg chg="add mod">
          <ac:chgData name="zur bonsen georg" userId="5444515566c7376a" providerId="LiveId" clId="{18CD7E6B-2C8E-405B-A237-843B9FC9D457}" dt="2022-04-09T09:54:23.329" v="842" actId="1076"/>
          <ac:spMkLst>
            <pc:docMk/>
            <pc:sldMk cId="3131759380" sldId="398"/>
            <ac:spMk id="89" creationId="{30EC3988-54C0-443F-964D-93436DB074AB}"/>
          </ac:spMkLst>
        </pc:spChg>
        <pc:spChg chg="add mod">
          <ac:chgData name="zur bonsen georg" userId="5444515566c7376a" providerId="LiveId" clId="{18CD7E6B-2C8E-405B-A237-843B9FC9D457}" dt="2022-04-09T09:55:15.019" v="946" actId="20577"/>
          <ac:spMkLst>
            <pc:docMk/>
            <pc:sldMk cId="3131759380" sldId="398"/>
            <ac:spMk id="90" creationId="{57FA14E1-BCCF-4806-9607-1724CD30A02E}"/>
          </ac:spMkLst>
        </pc:spChg>
        <pc:spChg chg="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91" creationId="{05EDC96F-CE68-418F-BBCF-61A443B2D183}"/>
          </ac:spMkLst>
        </pc:spChg>
        <pc:spChg chg="mod">
          <ac:chgData name="zur bonsen georg" userId="5444515566c7376a" providerId="LiveId" clId="{18CD7E6B-2C8E-405B-A237-843B9FC9D457}" dt="2022-04-09T09:56:49.762" v="1060" actId="20577"/>
          <ac:spMkLst>
            <pc:docMk/>
            <pc:sldMk cId="3131759380" sldId="398"/>
            <ac:spMk id="95" creationId="{E8D47682-1B6C-4548-BD82-4741067392EF}"/>
          </ac:spMkLst>
        </pc:spChg>
        <pc:spChg chg="add mod">
          <ac:chgData name="zur bonsen georg" userId="5444515566c7376a" providerId="LiveId" clId="{18CD7E6B-2C8E-405B-A237-843B9FC9D457}" dt="2022-04-09T09:55:29.021" v="956" actId="1035"/>
          <ac:spMkLst>
            <pc:docMk/>
            <pc:sldMk cId="3131759380" sldId="398"/>
            <ac:spMk id="96" creationId="{6ED8B32E-7F9A-42A7-A257-CD55D8B60743}"/>
          </ac:spMkLst>
        </pc:spChg>
        <pc:spChg chg="del mod">
          <ac:chgData name="zur bonsen georg" userId="5444515566c7376a" providerId="LiveId" clId="{18CD7E6B-2C8E-405B-A237-843B9FC9D457}" dt="2022-04-09T09:48:31.075" v="630" actId="478"/>
          <ac:spMkLst>
            <pc:docMk/>
            <pc:sldMk cId="3131759380" sldId="398"/>
            <ac:spMk id="97" creationId="{113D853E-F0C9-4B95-9535-B15CAC43C002}"/>
          </ac:spMkLst>
        </pc:spChg>
        <pc:spChg chg="mod">
          <ac:chgData name="zur bonsen georg" userId="5444515566c7376a" providerId="LiveId" clId="{18CD7E6B-2C8E-405B-A237-843B9FC9D457}" dt="2022-04-09T10:05:18.089" v="1319" actId="20577"/>
          <ac:spMkLst>
            <pc:docMk/>
            <pc:sldMk cId="3131759380" sldId="398"/>
            <ac:spMk id="103" creationId="{3994F20E-1809-45DA-A2DA-EAD0FF06EDBF}"/>
          </ac:spMkLst>
        </pc:spChg>
        <pc:spChg chg="add mod">
          <ac:chgData name="zur bonsen georg" userId="5444515566c7376a" providerId="LiveId" clId="{18CD7E6B-2C8E-405B-A237-843B9FC9D457}" dt="2022-04-09T09:56:19.817" v="1032" actId="20577"/>
          <ac:spMkLst>
            <pc:docMk/>
            <pc:sldMk cId="3131759380" sldId="398"/>
            <ac:spMk id="104" creationId="{B26B1955-2BB5-4D62-92EE-E5D71FC7C011}"/>
          </ac:spMkLst>
        </pc:spChg>
        <pc:spChg chg="del mod">
          <ac:chgData name="zur bonsen georg" userId="5444515566c7376a" providerId="LiveId" clId="{18CD7E6B-2C8E-405B-A237-843B9FC9D457}" dt="2022-04-09T09:51:40.512" v="706" actId="478"/>
          <ac:spMkLst>
            <pc:docMk/>
            <pc:sldMk cId="3131759380" sldId="398"/>
            <ac:spMk id="106" creationId="{4A4A10EE-B093-4F35-ABE2-97335DEC0167}"/>
          </ac:spMkLst>
        </pc:spChg>
        <pc:spChg chg="mod">
          <ac:chgData name="zur bonsen georg" userId="5444515566c7376a" providerId="LiveId" clId="{18CD7E6B-2C8E-405B-A237-843B9FC9D457}" dt="2022-04-09T10:07:08.913" v="1397" actId="14100"/>
          <ac:spMkLst>
            <pc:docMk/>
            <pc:sldMk cId="3131759380" sldId="398"/>
            <ac:spMk id="116" creationId="{2CEA51A4-B416-484B-ADF6-96AE4B8A2AD9}"/>
          </ac:spMkLst>
        </pc:spChg>
        <pc:spChg chg="mod">
          <ac:chgData name="zur bonsen georg" userId="5444515566c7376a" providerId="LiveId" clId="{18CD7E6B-2C8E-405B-A237-843B9FC9D457}" dt="2022-04-09T10:06:13.813" v="1396" actId="20577"/>
          <ac:spMkLst>
            <pc:docMk/>
            <pc:sldMk cId="3131759380" sldId="398"/>
            <ac:spMk id="124" creationId="{CAEEF56D-B13E-47D0-8AC5-ADD85D8E0C46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126" creationId="{BED03999-2D4C-49F8-8982-CDD5CA20CF2D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127" creationId="{8D93D78E-EF03-4099-9AF8-07AE51F90407}"/>
          </ac:spMkLst>
        </pc:sp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5" creationId="{D128DDCA-BEE4-4929-91C5-1EF6D4E8219B}"/>
          </ac:cxnSpMkLst>
        </pc:cxnChg>
        <pc:cxnChg chg="del">
          <ac:chgData name="zur bonsen georg" userId="5444515566c7376a" providerId="LiveId" clId="{18CD7E6B-2C8E-405B-A237-843B9FC9D457}" dt="2022-04-09T09:36:57.065" v="132" actId="478"/>
          <ac:cxnSpMkLst>
            <pc:docMk/>
            <pc:sldMk cId="3131759380" sldId="398"/>
            <ac:cxnSpMk id="7" creationId="{8C8BBDC3-092C-4E0E-9106-5FE84B6C724A}"/>
          </ac:cxnSpMkLst>
        </pc:cxn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54" creationId="{123A190C-8FFD-4B17-8527-52B19C52876B}"/>
          </ac:cxnSpMkLst>
        </pc:cxnChg>
        <pc:cxnChg chg="del mod">
          <ac:chgData name="zur bonsen georg" userId="5444515566c7376a" providerId="LiveId" clId="{18CD7E6B-2C8E-405B-A237-843B9FC9D457}" dt="2022-04-09T09:48:32.761" v="631" actId="478"/>
          <ac:cxnSpMkLst>
            <pc:docMk/>
            <pc:sldMk cId="3131759380" sldId="398"/>
            <ac:cxnSpMk id="56" creationId="{92A96DF3-50C6-4807-8D71-C7C9C8AB600E}"/>
          </ac:cxnSpMkLst>
        </pc:cxn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59" creationId="{ECFEF118-B761-42D5-9631-80E9BFDEF855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60" creationId="{4D2922DB-9EB8-4B01-9CA0-B185E54DAF55}"/>
          </ac:cxnSpMkLst>
        </pc:cxn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61" creationId="{4A7F2212-4028-4A13-92C4-32F5C490694A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63" creationId="{A84B0C48-C7B1-426A-9A14-3276A890A708}"/>
          </ac:cxnSpMkLst>
        </pc:cxnChg>
        <pc:cxnChg chg="del mod">
          <ac:chgData name="zur bonsen georg" userId="5444515566c7376a" providerId="LiveId" clId="{18CD7E6B-2C8E-405B-A237-843B9FC9D457}" dt="2022-04-09T09:48:31.075" v="630" actId="478"/>
          <ac:cxnSpMkLst>
            <pc:docMk/>
            <pc:sldMk cId="3131759380" sldId="398"/>
            <ac:cxnSpMk id="65" creationId="{97A0E850-4BC5-42D3-A5CF-47155EDE64FE}"/>
          </ac:cxnSpMkLst>
        </pc:cxnChg>
        <pc:cxnChg chg="del mod">
          <ac:chgData name="zur bonsen georg" userId="5444515566c7376a" providerId="LiveId" clId="{18CD7E6B-2C8E-405B-A237-843B9FC9D457}" dt="2022-04-09T09:49:36.348" v="668" actId="478"/>
          <ac:cxnSpMkLst>
            <pc:docMk/>
            <pc:sldMk cId="3131759380" sldId="398"/>
            <ac:cxnSpMk id="68" creationId="{AA273494-E2A1-4AF1-B5F1-7DD5179E5BF4}"/>
          </ac:cxnSpMkLst>
        </pc:cxnChg>
        <pc:cxnChg chg="del mod">
          <ac:chgData name="zur bonsen georg" userId="5444515566c7376a" providerId="LiveId" clId="{18CD7E6B-2C8E-405B-A237-843B9FC9D457}" dt="2022-04-09T09:49:36.348" v="668" actId="478"/>
          <ac:cxnSpMkLst>
            <pc:docMk/>
            <pc:sldMk cId="3131759380" sldId="398"/>
            <ac:cxnSpMk id="69" creationId="{631199C1-B38D-42AE-A8EA-F866B0025F84}"/>
          </ac:cxnSpMkLst>
        </pc:cxnChg>
        <pc:cxnChg chg="del">
          <ac:chgData name="zur bonsen georg" userId="5444515566c7376a" providerId="LiveId" clId="{18CD7E6B-2C8E-405B-A237-843B9FC9D457}" dt="2022-04-09T09:47:02.603" v="505" actId="478"/>
          <ac:cxnSpMkLst>
            <pc:docMk/>
            <pc:sldMk cId="3131759380" sldId="398"/>
            <ac:cxnSpMk id="71" creationId="{A7E75268-8B25-4E8A-A635-E2D3EE1CB409}"/>
          </ac:cxnSpMkLst>
        </pc:cxnChg>
        <pc:cxnChg chg="del">
          <ac:chgData name="zur bonsen georg" userId="5444515566c7376a" providerId="LiveId" clId="{18CD7E6B-2C8E-405B-A237-843B9FC9D457}" dt="2022-04-09T09:38:24.770" v="254" actId="478"/>
          <ac:cxnSpMkLst>
            <pc:docMk/>
            <pc:sldMk cId="3131759380" sldId="398"/>
            <ac:cxnSpMk id="72" creationId="{097F97C5-2A30-4CC9-A502-94ED5EBD1BA5}"/>
          </ac:cxnSpMkLst>
        </pc:cxnChg>
        <pc:cxnChg chg="add mod">
          <ac:chgData name="zur bonsen georg" userId="5444515566c7376a" providerId="LiveId" clId="{18CD7E6B-2C8E-405B-A237-843B9FC9D457}" dt="2022-04-09T09:51:08.015" v="698" actId="1038"/>
          <ac:cxnSpMkLst>
            <pc:docMk/>
            <pc:sldMk cId="3131759380" sldId="398"/>
            <ac:cxnSpMk id="78" creationId="{F7944FC9-3AC1-41F4-AE25-ECA7A8B4374A}"/>
          </ac:cxnSpMkLst>
        </pc:cxnChg>
        <pc:cxnChg chg="add del mod">
          <ac:chgData name="zur bonsen georg" userId="5444515566c7376a" providerId="LiveId" clId="{18CD7E6B-2C8E-405B-A237-843B9FC9D457}" dt="2022-04-09T09:55:20.454" v="949" actId="478"/>
          <ac:cxnSpMkLst>
            <pc:docMk/>
            <pc:sldMk cId="3131759380" sldId="398"/>
            <ac:cxnSpMk id="82" creationId="{905273B1-5E27-4C0F-BC04-9F4860B600FD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84" creationId="{5162B8FC-E202-4A9E-AA7D-C17401391218}"/>
          </ac:cxnSpMkLst>
        </pc:cxnChg>
        <pc:cxnChg chg="mod">
          <ac:chgData name="zur bonsen georg" userId="5444515566c7376a" providerId="LiveId" clId="{18CD7E6B-2C8E-405B-A237-843B9FC9D457}" dt="2022-04-09T09:47:00.606" v="504" actId="478"/>
          <ac:cxnSpMkLst>
            <pc:docMk/>
            <pc:sldMk cId="3131759380" sldId="398"/>
            <ac:cxnSpMk id="85" creationId="{84C9CE55-52B5-491F-AD3D-86B1BA759180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88" creationId="{96E765CF-399A-41D3-A8DE-6FFF20F4E74E}"/>
          </ac:cxnSpMkLst>
        </pc:cxnChg>
        <pc:cxnChg chg="mod">
          <ac:chgData name="zur bonsen georg" userId="5444515566c7376a" providerId="LiveId" clId="{18CD7E6B-2C8E-405B-A237-843B9FC9D457}" dt="2022-04-09T09:51:40.512" v="706" actId="478"/>
          <ac:cxnSpMkLst>
            <pc:docMk/>
            <pc:sldMk cId="3131759380" sldId="398"/>
            <ac:cxnSpMk id="92" creationId="{49EECA0E-29C4-44E9-B639-122E156942BA}"/>
          </ac:cxnSpMkLst>
        </pc:cxnChg>
        <pc:cxnChg chg="add mod">
          <ac:chgData name="zur bonsen georg" userId="5444515566c7376a" providerId="LiveId" clId="{18CD7E6B-2C8E-405B-A237-843B9FC9D457}" dt="2022-04-09T09:55:07.893" v="932" actId="1035"/>
          <ac:cxnSpMkLst>
            <pc:docMk/>
            <pc:sldMk cId="3131759380" sldId="398"/>
            <ac:cxnSpMk id="93" creationId="{BD3789DA-214E-4070-B2E8-C77AF7050675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94" creationId="{9F5EBB4B-633F-4669-A0F6-00AC836F8225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98" creationId="{22D009E9-3EB0-4703-AB82-DEBDA03225EF}"/>
          </ac:cxnSpMkLst>
        </pc:cxnChg>
        <pc:cxnChg chg="add mod">
          <ac:chgData name="zur bonsen georg" userId="5444515566c7376a" providerId="LiveId" clId="{18CD7E6B-2C8E-405B-A237-843B9FC9D457}" dt="2022-04-09T09:55:35.639" v="958" actId="1076"/>
          <ac:cxnSpMkLst>
            <pc:docMk/>
            <pc:sldMk cId="3131759380" sldId="398"/>
            <ac:cxnSpMk id="99" creationId="{970BDF38-481C-4283-AE11-62BC2F9307EC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100" creationId="{A2F10621-9368-4AD2-B284-9C31322BF95E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101" creationId="{33BBBC62-5B76-4CAC-948D-FA393ABB6822}"/>
          </ac:cxnSpMkLst>
        </pc:cxnChg>
        <pc:cxnChg chg="add mod">
          <ac:chgData name="zur bonsen georg" userId="5444515566c7376a" providerId="LiveId" clId="{18CD7E6B-2C8E-405B-A237-843B9FC9D457}" dt="2022-04-09T09:55:35.639" v="958" actId="1076"/>
          <ac:cxnSpMkLst>
            <pc:docMk/>
            <pc:sldMk cId="3131759380" sldId="398"/>
            <ac:cxnSpMk id="102" creationId="{360D836F-B46B-4501-83FD-2F7F48955B2B}"/>
          </ac:cxnSpMkLst>
        </pc:cxnChg>
        <pc:cxnChg chg="add mod">
          <ac:chgData name="zur bonsen georg" userId="5444515566c7376a" providerId="LiveId" clId="{18CD7E6B-2C8E-405B-A237-843B9FC9D457}" dt="2022-04-09T09:55:58.051" v="988" actId="14100"/>
          <ac:cxnSpMkLst>
            <pc:docMk/>
            <pc:sldMk cId="3131759380" sldId="398"/>
            <ac:cxnSpMk id="105" creationId="{875103E7-3CED-44F7-9CE0-E7843BA99310}"/>
          </ac:cxnSpMkLst>
        </pc:cxnChg>
        <pc:cxnChg chg="del mod">
          <ac:chgData name="zur bonsen georg" userId="5444515566c7376a" providerId="LiveId" clId="{18CD7E6B-2C8E-405B-A237-843B9FC9D457}" dt="2022-04-09T09:50:58.944" v="695" actId="478"/>
          <ac:cxnSpMkLst>
            <pc:docMk/>
            <pc:sldMk cId="3131759380" sldId="398"/>
            <ac:cxnSpMk id="115" creationId="{05F7EBBB-486F-4C36-BCC8-8907F20FCFCE}"/>
          </ac:cxnSpMkLst>
        </pc:cxnChg>
        <pc:cxnChg chg="del mod">
          <ac:chgData name="zur bonsen georg" userId="5444515566c7376a" providerId="LiveId" clId="{18CD7E6B-2C8E-405B-A237-843B9FC9D457}" dt="2022-04-09T09:51:19.762" v="703" actId="478"/>
          <ac:cxnSpMkLst>
            <pc:docMk/>
            <pc:sldMk cId="3131759380" sldId="398"/>
            <ac:cxnSpMk id="117" creationId="{2495516A-F87B-43AC-973A-707788770D08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119" creationId="{88EEA407-315F-4E6E-A44E-23FF3D449F1B}"/>
          </ac:cxnSpMkLst>
        </pc:cxnChg>
        <pc:cxnChg chg="mod or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120" creationId="{D239C0C7-8785-4586-AD5C-70F87A3B31A0}"/>
          </ac:cxnSpMkLst>
        </pc:cxnChg>
        <pc:cxnChg chg="del mod">
          <ac:chgData name="zur bonsen georg" userId="5444515566c7376a" providerId="LiveId" clId="{18CD7E6B-2C8E-405B-A237-843B9FC9D457}" dt="2022-04-09T09:50:56.561" v="694" actId="478"/>
          <ac:cxnSpMkLst>
            <pc:docMk/>
            <pc:sldMk cId="3131759380" sldId="398"/>
            <ac:cxnSpMk id="121" creationId="{DE01A103-3472-4DB1-A048-142176A48BA0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123" creationId="{2EB0CC1C-F673-4181-B9D8-2981D298C838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125" creationId="{E0B9CDB7-4912-4242-8A58-4FF6384F26A2}"/>
          </ac:cxnSpMkLst>
        </pc:cxnChg>
      </pc:sldChg>
      <pc:sldChg chg="addSp modSp mod">
        <pc:chgData name="zur bonsen georg" userId="5444515566c7376a" providerId="LiveId" clId="{18CD7E6B-2C8E-405B-A237-843B9FC9D457}" dt="2022-03-27T20:08:20.222" v="75" actId="20577"/>
        <pc:sldMkLst>
          <pc:docMk/>
          <pc:sldMk cId="2182778507" sldId="506"/>
        </pc:sldMkLst>
        <pc:spChg chg="mod">
          <ac:chgData name="zur bonsen georg" userId="5444515566c7376a" providerId="LiveId" clId="{18CD7E6B-2C8E-405B-A237-843B9FC9D457}" dt="2022-03-27T20:04:33.857" v="46" actId="20577"/>
          <ac:spMkLst>
            <pc:docMk/>
            <pc:sldMk cId="2182778507" sldId="506"/>
            <ac:spMk id="54" creationId="{481A2274-F4BB-44ED-A009-B97EC6ED0B43}"/>
          </ac:spMkLst>
        </pc:spChg>
        <pc:spChg chg="mod">
          <ac:chgData name="zur bonsen georg" userId="5444515566c7376a" providerId="LiveId" clId="{18CD7E6B-2C8E-405B-A237-843B9FC9D457}" dt="2022-03-27T20:02:33.807" v="0" actId="1076"/>
          <ac:spMkLst>
            <pc:docMk/>
            <pc:sldMk cId="2182778507" sldId="506"/>
            <ac:spMk id="99" creationId="{927F121B-F8B4-4D44-A46D-641D9B714E05}"/>
          </ac:spMkLst>
        </pc:spChg>
        <pc:spChg chg="mod">
          <ac:chgData name="zur bonsen georg" userId="5444515566c7376a" providerId="LiveId" clId="{18CD7E6B-2C8E-405B-A237-843B9FC9D457}" dt="2022-03-27T20:08:20.222" v="75" actId="20577"/>
          <ac:spMkLst>
            <pc:docMk/>
            <pc:sldMk cId="2182778507" sldId="506"/>
            <ac:spMk id="139" creationId="{55FB7688-9E31-426C-9495-04A457FBABD7}"/>
          </ac:spMkLst>
        </pc:spChg>
        <pc:spChg chg="mod">
          <ac:chgData name="zur bonsen georg" userId="5444515566c7376a" providerId="LiveId" clId="{18CD7E6B-2C8E-405B-A237-843B9FC9D457}" dt="2022-03-27T20:07:08.871" v="59" actId="6549"/>
          <ac:spMkLst>
            <pc:docMk/>
            <pc:sldMk cId="2182778507" sldId="506"/>
            <ac:spMk id="146" creationId="{B99A89BB-6C08-4F63-8928-338BD0FA4906}"/>
          </ac:spMkLst>
        </pc:spChg>
        <pc:spChg chg="mod">
          <ac:chgData name="zur bonsen georg" userId="5444515566c7376a" providerId="LiveId" clId="{18CD7E6B-2C8E-405B-A237-843B9FC9D457}" dt="2022-03-27T20:04:03.281" v="37" actId="207"/>
          <ac:spMkLst>
            <pc:docMk/>
            <pc:sldMk cId="2182778507" sldId="506"/>
            <ac:spMk id="147" creationId="{70DCD7E0-78AB-482C-BE6F-E13CED6E8807}"/>
          </ac:spMkLst>
        </pc:spChg>
        <pc:spChg chg="mod">
          <ac:chgData name="zur bonsen georg" userId="5444515566c7376a" providerId="LiveId" clId="{18CD7E6B-2C8E-405B-A237-843B9FC9D457}" dt="2022-03-27T20:05:25.595" v="52" actId="6549"/>
          <ac:spMkLst>
            <pc:docMk/>
            <pc:sldMk cId="2182778507" sldId="506"/>
            <ac:spMk id="168" creationId="{D85A19BC-6541-4A5F-8D1F-41C9CD79B326}"/>
          </ac:spMkLst>
        </pc:spChg>
        <pc:cxnChg chg="add mod ord">
          <ac:chgData name="zur bonsen georg" userId="5444515566c7376a" providerId="LiveId" clId="{18CD7E6B-2C8E-405B-A237-843B9FC9D457}" dt="2022-03-27T20:04:17.568" v="41" actId="167"/>
          <ac:cxnSpMkLst>
            <pc:docMk/>
            <pc:sldMk cId="2182778507" sldId="506"/>
            <ac:cxnSpMk id="59" creationId="{AF61FCA3-65F3-40C8-822C-E107E29A282C}"/>
          </ac:cxnSpMkLst>
        </pc:cxnChg>
        <pc:cxnChg chg="add mod ord">
          <ac:chgData name="zur bonsen georg" userId="5444515566c7376a" providerId="LiveId" clId="{18CD7E6B-2C8E-405B-A237-843B9FC9D457}" dt="2022-03-27T20:04:23.940" v="45" actId="167"/>
          <ac:cxnSpMkLst>
            <pc:docMk/>
            <pc:sldMk cId="2182778507" sldId="506"/>
            <ac:cxnSpMk id="61" creationId="{C430D2CC-2AA6-4E4D-9838-C7CFA7BD9803}"/>
          </ac:cxnSpMkLst>
        </pc:cxnChg>
      </pc:sldChg>
      <pc:sldChg chg="addSp delSp modSp add del mod ord">
        <pc:chgData name="zur bonsen georg" userId="5444515566c7376a" providerId="LiveId" clId="{18CD7E6B-2C8E-405B-A237-843B9FC9D457}" dt="2022-04-24T09:11:51.131" v="9842" actId="47"/>
        <pc:sldMkLst>
          <pc:docMk/>
          <pc:sldMk cId="3851131186" sldId="507"/>
        </pc:sldMkLst>
        <pc:spChg chg="mod">
          <ac:chgData name="zur bonsen georg" userId="5444515566c7376a" providerId="LiveId" clId="{18CD7E6B-2C8E-405B-A237-843B9FC9D457}" dt="2022-04-18T13:09:30.316" v="7249" actId="20577"/>
          <ac:spMkLst>
            <pc:docMk/>
            <pc:sldMk cId="3851131186" sldId="507"/>
            <ac:spMk id="2" creationId="{00000000-0000-0000-0000-000000000000}"/>
          </ac:spMkLst>
        </pc:spChg>
        <pc:spChg chg="add mod">
          <ac:chgData name="zur bonsen georg" userId="5444515566c7376a" providerId="LiveId" clId="{18CD7E6B-2C8E-405B-A237-843B9FC9D457}" dt="2022-04-18T13:18:07.616" v="7679" actId="20577"/>
          <ac:spMkLst>
            <pc:docMk/>
            <pc:sldMk cId="3851131186" sldId="507"/>
            <ac:spMk id="15" creationId="{6363B55E-A0DD-4F04-B26B-EE0CF4163EFB}"/>
          </ac:spMkLst>
        </pc:spChg>
        <pc:spChg chg="add mod">
          <ac:chgData name="zur bonsen georg" userId="5444515566c7376a" providerId="LiveId" clId="{18CD7E6B-2C8E-405B-A237-843B9FC9D457}" dt="2022-04-18T13:14:45.357" v="7535" actId="20577"/>
          <ac:spMkLst>
            <pc:docMk/>
            <pc:sldMk cId="3851131186" sldId="507"/>
            <ac:spMk id="16" creationId="{24DF15E2-8494-4CD4-97B9-0587F72A4C67}"/>
          </ac:spMkLst>
        </pc:spChg>
        <pc:spChg chg="add del mod">
          <ac:chgData name="zur bonsen georg" userId="5444515566c7376a" providerId="LiveId" clId="{18CD7E6B-2C8E-405B-A237-843B9FC9D457}" dt="2022-04-18T13:12:41.564" v="7439" actId="478"/>
          <ac:spMkLst>
            <pc:docMk/>
            <pc:sldMk cId="3851131186" sldId="507"/>
            <ac:spMk id="17" creationId="{5CC72C18-BC7F-4CC3-8CBE-D7E143967B24}"/>
          </ac:spMkLst>
        </pc:spChg>
        <pc:spChg chg="add del mod">
          <ac:chgData name="zur bonsen georg" userId="5444515566c7376a" providerId="LiveId" clId="{18CD7E6B-2C8E-405B-A237-843B9FC9D457}" dt="2022-04-18T13:12:41.564" v="7439" actId="478"/>
          <ac:spMkLst>
            <pc:docMk/>
            <pc:sldMk cId="3851131186" sldId="507"/>
            <ac:spMk id="18" creationId="{85B856B1-50E8-45C9-96B7-E1D0A5075FF9}"/>
          </ac:spMkLst>
        </pc:spChg>
        <pc:spChg chg="add del mod">
          <ac:chgData name="zur bonsen georg" userId="5444515566c7376a" providerId="LiveId" clId="{18CD7E6B-2C8E-405B-A237-843B9FC9D457}" dt="2022-04-18T13:14:19.089" v="7501" actId="478"/>
          <ac:spMkLst>
            <pc:docMk/>
            <pc:sldMk cId="3851131186" sldId="507"/>
            <ac:spMk id="21" creationId="{011A78CB-B6B1-4AEB-AE31-EE556BEC5A9D}"/>
          </ac:spMkLst>
        </pc:spChg>
        <pc:spChg chg="add del mod">
          <ac:chgData name="zur bonsen georg" userId="5444515566c7376a" providerId="LiveId" clId="{18CD7E6B-2C8E-405B-A237-843B9FC9D457}" dt="2022-04-18T13:14:19.089" v="7501" actId="478"/>
          <ac:spMkLst>
            <pc:docMk/>
            <pc:sldMk cId="3851131186" sldId="507"/>
            <ac:spMk id="22" creationId="{53D52B64-57F2-4298-9826-F343533DC71E}"/>
          </ac:spMkLst>
        </pc:spChg>
        <pc:spChg chg="add del mod">
          <ac:chgData name="zur bonsen georg" userId="5444515566c7376a" providerId="LiveId" clId="{18CD7E6B-2C8E-405B-A237-843B9FC9D457}" dt="2022-04-18T13:36:15.654" v="7756" actId="21"/>
          <ac:spMkLst>
            <pc:docMk/>
            <pc:sldMk cId="3851131186" sldId="507"/>
            <ac:spMk id="23" creationId="{4A8575F0-736A-4274-B15B-CF618173D184}"/>
          </ac:spMkLst>
        </pc:spChg>
        <pc:spChg chg="add del mod">
          <ac:chgData name="zur bonsen georg" userId="5444515566c7376a" providerId="LiveId" clId="{18CD7E6B-2C8E-405B-A237-843B9FC9D457}" dt="2022-04-18T13:37:05.619" v="7785" actId="21"/>
          <ac:spMkLst>
            <pc:docMk/>
            <pc:sldMk cId="3851131186" sldId="507"/>
            <ac:spMk id="24" creationId="{8A156309-BB0A-497C-A4A8-4435A14CDAB2}"/>
          </ac:spMkLst>
        </pc:spChg>
        <pc:spChg chg="add mod">
          <ac:chgData name="zur bonsen georg" userId="5444515566c7376a" providerId="LiveId" clId="{18CD7E6B-2C8E-405B-A237-843B9FC9D457}" dt="2022-04-18T14:24:12.179" v="8491" actId="1036"/>
          <ac:spMkLst>
            <pc:docMk/>
            <pc:sldMk cId="3851131186" sldId="507"/>
            <ac:spMk id="25" creationId="{A32A9BA3-6FAF-4251-AA22-942116015580}"/>
          </ac:spMkLst>
        </pc:spChg>
        <pc:spChg chg="mod">
          <ac:chgData name="zur bonsen georg" userId="5444515566c7376a" providerId="LiveId" clId="{18CD7E6B-2C8E-405B-A237-843B9FC9D457}" dt="2022-04-18T13:12:48.868" v="7447" actId="1037"/>
          <ac:spMkLst>
            <pc:docMk/>
            <pc:sldMk cId="3851131186" sldId="507"/>
            <ac:spMk id="35" creationId="{E6FD1F8A-1E29-4082-BD8E-B68439FB0EC7}"/>
          </ac:spMkLst>
        </pc:spChg>
        <pc:spChg chg="mod">
          <ac:chgData name="zur bonsen georg" userId="5444515566c7376a" providerId="LiveId" clId="{18CD7E6B-2C8E-405B-A237-843B9FC9D457}" dt="2022-04-18T13:15:08.517" v="7538" actId="20577"/>
          <ac:spMkLst>
            <pc:docMk/>
            <pc:sldMk cId="3851131186" sldId="507"/>
            <ac:spMk id="37" creationId="{6E1BCBB0-D175-4259-B26F-C597A81DC306}"/>
          </ac:spMkLst>
        </pc:spChg>
        <pc:spChg chg="mod">
          <ac:chgData name="zur bonsen georg" userId="5444515566c7376a" providerId="LiveId" clId="{18CD7E6B-2C8E-405B-A237-843B9FC9D457}" dt="2022-04-18T13:13:22.795" v="7478" actId="20577"/>
          <ac:spMkLst>
            <pc:docMk/>
            <pc:sldMk cId="3851131186" sldId="507"/>
            <ac:spMk id="39" creationId="{3DE79C33-9C3E-4819-BD35-A6EAA83F0B65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43" creationId="{9746CE75-FD5E-40C8-929C-8E593A67016C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45" creationId="{1001E8B8-A0F6-445F-B5B1-9C80B6D9597F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46" creationId="{092E4CD3-7EEF-4BE3-9288-2551EFE145C9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47" creationId="{B0B8E2A1-27CC-4395-94ED-4E17733B66E8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54" creationId="{481A2274-F4BB-44ED-A009-B97EC6ED0B43}"/>
          </ac:spMkLst>
        </pc:spChg>
        <pc:spChg chg="add del mod">
          <ac:chgData name="zur bonsen georg" userId="5444515566c7376a" providerId="LiveId" clId="{18CD7E6B-2C8E-405B-A237-843B9FC9D457}" dt="2022-04-17T20:27:24.540" v="1515" actId="478"/>
          <ac:spMkLst>
            <pc:docMk/>
            <pc:sldMk cId="3851131186" sldId="507"/>
            <ac:spMk id="65" creationId="{91BAE855-4C14-44F4-9751-F744590A5522}"/>
          </ac:spMkLst>
        </pc:spChg>
        <pc:spChg chg="add mod">
          <ac:chgData name="zur bonsen georg" userId="5444515566c7376a" providerId="LiveId" clId="{18CD7E6B-2C8E-405B-A237-843B9FC9D457}" dt="2022-04-18T13:18:17.681" v="7682" actId="113"/>
          <ac:spMkLst>
            <pc:docMk/>
            <pc:sldMk cId="3851131186" sldId="507"/>
            <ac:spMk id="66" creationId="{3ABCAEDF-CBB1-465E-8102-CBAACAAA9356}"/>
          </ac:spMkLst>
        </pc:spChg>
        <pc:spChg chg="add mod">
          <ac:chgData name="zur bonsen georg" userId="5444515566c7376a" providerId="LiveId" clId="{18CD7E6B-2C8E-405B-A237-843B9FC9D457}" dt="2022-04-18T13:18:31.106" v="7690" actId="20577"/>
          <ac:spMkLst>
            <pc:docMk/>
            <pc:sldMk cId="3851131186" sldId="507"/>
            <ac:spMk id="70" creationId="{10C88A69-70FD-476B-BC65-029D09FFCE3F}"/>
          </ac:spMkLst>
        </pc:spChg>
        <pc:spChg chg="add del mod">
          <ac:chgData name="zur bonsen georg" userId="5444515566c7376a" providerId="LiveId" clId="{18CD7E6B-2C8E-405B-A237-843B9FC9D457}" dt="2022-04-17T20:38:33.264" v="1762" actId="478"/>
          <ac:spMkLst>
            <pc:docMk/>
            <pc:sldMk cId="3851131186" sldId="507"/>
            <ac:spMk id="71" creationId="{1EA543C5-E6FF-489E-971F-A38BEEFEE283}"/>
          </ac:spMkLst>
        </pc:spChg>
        <pc:spChg chg="add mod">
          <ac:chgData name="zur bonsen georg" userId="5444515566c7376a" providerId="LiveId" clId="{18CD7E6B-2C8E-405B-A237-843B9FC9D457}" dt="2022-04-18T13:17:53.527" v="7674" actId="1038"/>
          <ac:spMkLst>
            <pc:docMk/>
            <pc:sldMk cId="3851131186" sldId="507"/>
            <ac:spMk id="72" creationId="{AA7BECD8-F4C9-4BB8-A25E-4F37FEEBFF73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99" creationId="{927F121B-F8B4-4D44-A46D-641D9B714E05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05" creationId="{4DF3F716-9AA0-4699-8C65-2A4CB9997650}"/>
          </ac:spMkLst>
        </pc:spChg>
        <pc:spChg chg="mod">
          <ac:chgData name="zur bonsen georg" userId="5444515566c7376a" providerId="LiveId" clId="{18CD7E6B-2C8E-405B-A237-843B9FC9D457}" dt="2022-04-18T13:13:45.851" v="7487" actId="122"/>
          <ac:spMkLst>
            <pc:docMk/>
            <pc:sldMk cId="3851131186" sldId="507"/>
            <ac:spMk id="113" creationId="{69E15E5F-9525-4135-821B-6CDE0D1CB24D}"/>
          </ac:spMkLst>
        </pc:spChg>
        <pc:spChg chg="del mod">
          <ac:chgData name="zur bonsen georg" userId="5444515566c7376a" providerId="LiveId" clId="{18CD7E6B-2C8E-405B-A237-843B9FC9D457}" dt="2022-04-18T13:07:57.296" v="7126" actId="478"/>
          <ac:spMkLst>
            <pc:docMk/>
            <pc:sldMk cId="3851131186" sldId="507"/>
            <ac:spMk id="118" creationId="{3026E471-369F-4FC4-A626-9F4F4AF835F5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39" creationId="{55FB7688-9E31-426C-9495-04A457FBABD7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40" creationId="{8AD8071C-3366-4EDD-9325-068A41938395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41" creationId="{C402E5DE-9A39-4EB4-9C01-38DFAE65DEB3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42" creationId="{EE0E4775-F85F-4A31-B1DF-397622C34EE8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3" creationId="{8411AF6A-9D0F-48E3-821B-BDC20301A245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4" creationId="{B73151BB-F4A6-467E-A640-9461637880B2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5" creationId="{F1A6728C-0D0F-437C-9808-6102388D262B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6" creationId="{B99A89BB-6C08-4F63-8928-338BD0FA4906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7" creationId="{70DCD7E0-78AB-482C-BE6F-E13CED6E8807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8" creationId="{3DECD778-1762-47B6-ABC2-615C08385F3A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9" creationId="{D956C4D5-AA7A-4731-81FA-AD748E2BB761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50" creationId="{5998A0C6-2076-4A83-97B6-A83FBD3934F9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51" creationId="{D56037E5-12FD-4878-BE65-656D81FCA390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68" creationId="{D85A19BC-6541-4A5F-8D1F-41C9CD79B326}"/>
          </ac:spMkLst>
        </pc:spChg>
        <pc:spChg chg="del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79" creationId="{38AF722D-27F3-4D5F-B4E0-D6786BD9D459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80" creationId="{E43B945B-A893-423A-9B7D-2E5BD82266D4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81" creationId="{910DEE03-A1B8-4295-B1D4-6154C7D14CB2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210" creationId="{E1515105-8407-4EC9-8127-25E693F040F6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211" creationId="{58ADEFC7-FBB4-4B76-B281-6ADA90308C4F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212" creationId="{D097D94D-08E5-4308-AED2-B01F44B94A69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213" creationId="{A027EED1-3F42-4882-8342-7E4CFF3BBB24}"/>
          </ac:spMkLst>
        </pc:sp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59" creationId="{AF61FCA3-65F3-40C8-822C-E107E29A282C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61" creationId="{C430D2CC-2AA6-4E4D-9838-C7CFA7BD9803}"/>
          </ac:cxnSpMkLst>
        </pc:cxnChg>
        <pc:cxnChg chg="add mod">
          <ac:chgData name="zur bonsen georg" userId="5444515566c7376a" providerId="LiveId" clId="{18CD7E6B-2C8E-405B-A237-843B9FC9D457}" dt="2022-04-18T13:13:11.485" v="7476" actId="14100"/>
          <ac:cxnSpMkLst>
            <pc:docMk/>
            <pc:sldMk cId="3851131186" sldId="507"/>
            <ac:cxnSpMk id="63" creationId="{EFBFE234-A777-42B3-B97B-9C4B44000D41}"/>
          </ac:cxnSpMkLst>
        </pc:cxnChg>
        <pc:cxnChg chg="add mod">
          <ac:chgData name="zur bonsen georg" userId="5444515566c7376a" providerId="LiveId" clId="{18CD7E6B-2C8E-405B-A237-843B9FC9D457}" dt="2022-04-18T13:12:58.091" v="7462" actId="1038"/>
          <ac:cxnSpMkLst>
            <pc:docMk/>
            <pc:sldMk cId="3851131186" sldId="507"/>
            <ac:cxnSpMk id="67" creationId="{20A55B09-D86E-4FB5-8BE5-BE84F5EAC408}"/>
          </ac:cxnSpMkLst>
        </pc:cxnChg>
        <pc:cxnChg chg="mod">
          <ac:chgData name="zur bonsen georg" userId="5444515566c7376a" providerId="LiveId" clId="{18CD7E6B-2C8E-405B-A237-843B9FC9D457}" dt="2022-04-18T13:13:09.431" v="7475" actId="14100"/>
          <ac:cxnSpMkLst>
            <pc:docMk/>
            <pc:sldMk cId="3851131186" sldId="507"/>
            <ac:cxnSpMk id="114" creationId="{DC2FC9AC-EC14-43A0-AB3C-158A9F3C0158}"/>
          </ac:cxnSpMkLst>
        </pc:cxnChg>
        <pc:cxnChg chg="mod">
          <ac:chgData name="zur bonsen georg" userId="5444515566c7376a" providerId="LiveId" clId="{18CD7E6B-2C8E-405B-A237-843B9FC9D457}" dt="2022-04-18T13:13:05.686" v="7474" actId="1038"/>
          <ac:cxnSpMkLst>
            <pc:docMk/>
            <pc:sldMk cId="3851131186" sldId="507"/>
            <ac:cxnSpMk id="124" creationId="{81E93DEE-B453-4DF5-94E8-73BF4C0D46DA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25" creationId="{BC697433-001F-4FF9-8D1D-480698A09F57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27" creationId="{0DCEEC31-45D2-4933-BB48-F678476B1889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29" creationId="{C75B3B39-4AEA-48D6-81E0-B1358B326DB5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32" creationId="{4F4A6C18-B7F9-4A7C-AA45-B0C3B134EAEA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33" creationId="{6FDBC69C-7FF3-499E-9AC2-8DE923A74EAE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34" creationId="{630AC9E0-0A12-4266-939B-B4B096667E0F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35" creationId="{D7A90912-280E-4192-849B-F6F1E70B37CF}"/>
          </ac:cxnSpMkLst>
        </pc:cxnChg>
        <pc:cxnChg chg="del mod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52" creationId="{BEA02FC8-3441-4539-857C-F7D97D5F1FF5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54" creationId="{08C86592-80E2-4833-AD2E-01CFE9AF5FBA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56" creationId="{BE5E2061-CEE8-4D61-8B48-B85681B18D44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58" creationId="{F21BC139-4871-4358-A19E-ED39FBA51B8D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60" creationId="{3276C4E3-2922-4070-8BA3-0D7330844793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65" creationId="{BDD84929-517E-446E-A428-F6CDBF6B5344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69" creationId="{2EF7A6D4-5BC6-46C3-922B-155F954DD878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77" creationId="{C577E9DB-630A-43F4-A69C-E9F525B66CA8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85" creationId="{64A962DC-8323-4AC9-95A4-4A33DE234132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91" creationId="{E4EB1583-7CE0-4BDB-925A-E28DB063FA2A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97" creationId="{98F933B7-C865-4BE4-8353-B74A62EA369E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203" creationId="{55D7DB27-69AA-4407-AA7E-D4B7F7E1E04F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207" creationId="{253D21A1-7E4B-49C2-AD35-8F2B46E3E1DF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208" creationId="{83495546-1FA7-4E39-B7E0-51E9A4997CFA}"/>
          </ac:cxnSpMkLst>
        </pc:cxnChg>
      </pc:sldChg>
      <pc:sldChg chg="addSp delSp modSp add mod">
        <pc:chgData name="zur bonsen georg" userId="5444515566c7376a" providerId="LiveId" clId="{18CD7E6B-2C8E-405B-A237-843B9FC9D457}" dt="2022-04-18T14:23:32.306" v="8482" actId="20577"/>
        <pc:sldMkLst>
          <pc:docMk/>
          <pc:sldMk cId="281680118" sldId="508"/>
        </pc:sldMkLst>
        <pc:spChg chg="mod">
          <ac:chgData name="zur bonsen georg" userId="5444515566c7376a" providerId="LiveId" clId="{18CD7E6B-2C8E-405B-A237-843B9FC9D457}" dt="2022-04-18T13:50:38.695" v="8413" actId="255"/>
          <ac:spMkLst>
            <pc:docMk/>
            <pc:sldMk cId="281680118" sldId="508"/>
            <ac:spMk id="2" creationId="{00000000-0000-0000-0000-000000000000}"/>
          </ac:spMkLst>
        </pc:spChg>
        <pc:spChg chg="add mod">
          <ac:chgData name="zur bonsen georg" userId="5444515566c7376a" providerId="LiveId" clId="{18CD7E6B-2C8E-405B-A237-843B9FC9D457}" dt="2022-04-18T13:36:53.158" v="7782" actId="20577"/>
          <ac:spMkLst>
            <pc:docMk/>
            <pc:sldMk cId="281680118" sldId="508"/>
            <ac:spMk id="28" creationId="{6CB6B7CA-64B3-421C-A804-49F0145B62C1}"/>
          </ac:spMkLst>
        </pc:spChg>
        <pc:spChg chg="add del mod">
          <ac:chgData name="zur bonsen georg" userId="5444515566c7376a" providerId="LiveId" clId="{18CD7E6B-2C8E-405B-A237-843B9FC9D457}" dt="2022-04-17T20:38:47.236" v="1768" actId="21"/>
          <ac:spMkLst>
            <pc:docMk/>
            <pc:sldMk cId="281680118" sldId="508"/>
            <ac:spMk id="32" creationId="{8E0B38E1-6B32-4FB8-A710-A5CA9B494595}"/>
          </ac:spMkLst>
        </pc:spChg>
        <pc:spChg chg="add del mod">
          <ac:chgData name="zur bonsen georg" userId="5444515566c7376a" providerId="LiveId" clId="{18CD7E6B-2C8E-405B-A237-843B9FC9D457}" dt="2022-04-18T13:36:19.135" v="7758" actId="478"/>
          <ac:spMkLst>
            <pc:docMk/>
            <pc:sldMk cId="281680118" sldId="508"/>
            <ac:spMk id="33" creationId="{2AB83F20-11C6-4502-B6F8-0E78CCE7D19A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34" creationId="{A6DD2971-12C7-4076-9703-01FF69EBDEFA}"/>
          </ac:spMkLst>
        </pc:spChg>
        <pc:spChg chg="del">
          <ac:chgData name="zur bonsen georg" userId="5444515566c7376a" providerId="LiveId" clId="{18CD7E6B-2C8E-405B-A237-843B9FC9D457}" dt="2022-04-17T20:38:50.698" v="1769" actId="478"/>
          <ac:spMkLst>
            <pc:docMk/>
            <pc:sldMk cId="281680118" sldId="508"/>
            <ac:spMk id="35" creationId="{E6FD1F8A-1E29-4082-BD8E-B68439FB0EC7}"/>
          </ac:spMkLst>
        </pc:spChg>
        <pc:spChg chg="add mod">
          <ac:chgData name="zur bonsen georg" userId="5444515566c7376a" providerId="LiveId" clId="{18CD7E6B-2C8E-405B-A237-843B9FC9D457}" dt="2022-04-18T13:49:39.845" v="8347" actId="6549"/>
          <ac:spMkLst>
            <pc:docMk/>
            <pc:sldMk cId="281680118" sldId="508"/>
            <ac:spMk id="36" creationId="{DFFAA0A9-A507-4D93-BE46-511521A5AD92}"/>
          </ac:spMkLst>
        </pc:spChg>
        <pc:spChg chg="del">
          <ac:chgData name="zur bonsen georg" userId="5444515566c7376a" providerId="LiveId" clId="{18CD7E6B-2C8E-405B-A237-843B9FC9D457}" dt="2022-04-17T20:39:00.063" v="1771" actId="478"/>
          <ac:spMkLst>
            <pc:docMk/>
            <pc:sldMk cId="281680118" sldId="508"/>
            <ac:spMk id="37" creationId="{6E1BCBB0-D175-4259-B26F-C597A81DC306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38" creationId="{E97CC6B8-44DF-4D47-9AD5-4CD8C9A16DE7}"/>
          </ac:spMkLst>
        </pc:spChg>
        <pc:spChg chg="del">
          <ac:chgData name="zur bonsen georg" userId="5444515566c7376a" providerId="LiveId" clId="{18CD7E6B-2C8E-405B-A237-843B9FC9D457}" dt="2022-04-17T20:39:10" v="1775" actId="478"/>
          <ac:spMkLst>
            <pc:docMk/>
            <pc:sldMk cId="281680118" sldId="508"/>
            <ac:spMk id="39" creationId="{3DE79C33-9C3E-4819-BD35-A6EAA83F0B65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40" creationId="{22FBE4BE-F616-46C2-AAC9-63F289AA916F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41" creationId="{506031A6-A80A-4A99-9B01-FE3C2619E675}"/>
          </ac:spMkLst>
        </pc:spChg>
        <pc:spChg chg="add mod">
          <ac:chgData name="zur bonsen georg" userId="5444515566c7376a" providerId="LiveId" clId="{18CD7E6B-2C8E-405B-A237-843B9FC9D457}" dt="2022-04-18T13:48:37.624" v="8290" actId="20577"/>
          <ac:spMkLst>
            <pc:docMk/>
            <pc:sldMk cId="281680118" sldId="508"/>
            <ac:spMk id="42" creationId="{21071A75-8F58-41AE-A1CD-672864BFBE85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43" creationId="{9746CE75-FD5E-40C8-929C-8E593A67016C}"/>
          </ac:spMkLst>
        </pc:spChg>
        <pc:spChg chg="add mod">
          <ac:chgData name="zur bonsen georg" userId="5444515566c7376a" providerId="LiveId" clId="{18CD7E6B-2C8E-405B-A237-843B9FC9D457}" dt="2022-04-18T13:44:21.744" v="8104" actId="1035"/>
          <ac:spMkLst>
            <pc:docMk/>
            <pc:sldMk cId="281680118" sldId="508"/>
            <ac:spMk id="44" creationId="{DF460A4C-B249-4F0E-93EF-BBCCCD8A0784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45" creationId="{1001E8B8-A0F6-445F-B5B1-9C80B6D9597F}"/>
          </ac:spMkLst>
        </pc:spChg>
        <pc:spChg chg="add del mod">
          <ac:chgData name="zur bonsen georg" userId="5444515566c7376a" providerId="LiveId" clId="{18CD7E6B-2C8E-405B-A237-843B9FC9D457}" dt="2022-04-18T13:37:19.227" v="7790" actId="478"/>
          <ac:spMkLst>
            <pc:docMk/>
            <pc:sldMk cId="281680118" sldId="508"/>
            <ac:spMk id="45" creationId="{28DC6F98-B043-4A01-A667-9E6DE4CD855A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46" creationId="{092E4CD3-7EEF-4BE3-9288-2551EFE145C9}"/>
          </ac:spMkLst>
        </pc:spChg>
        <pc:spChg chg="add del mod">
          <ac:chgData name="zur bonsen georg" userId="5444515566c7376a" providerId="LiveId" clId="{18CD7E6B-2C8E-405B-A237-843B9FC9D457}" dt="2022-04-18T13:42:05.693" v="8033" actId="478"/>
          <ac:spMkLst>
            <pc:docMk/>
            <pc:sldMk cId="281680118" sldId="508"/>
            <ac:spMk id="46" creationId="{F5608DB0-664E-4407-A293-E904B8A4684F}"/>
          </ac:spMkLst>
        </pc:spChg>
        <pc:spChg chg="add mod">
          <ac:chgData name="zur bonsen georg" userId="5444515566c7376a" providerId="LiveId" clId="{18CD7E6B-2C8E-405B-A237-843B9FC9D457}" dt="2022-04-18T13:49:52.140" v="8400" actId="20577"/>
          <ac:spMkLst>
            <pc:docMk/>
            <pc:sldMk cId="281680118" sldId="508"/>
            <ac:spMk id="47" creationId="{91511AC0-5CEE-499C-9D86-EB22E19EB4DE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47" creationId="{B0B8E2A1-27CC-4395-94ED-4E17733B66E8}"/>
          </ac:spMkLst>
        </pc:spChg>
        <pc:spChg chg="add mod">
          <ac:chgData name="zur bonsen georg" userId="5444515566c7376a" providerId="LiveId" clId="{18CD7E6B-2C8E-405B-A237-843B9FC9D457}" dt="2022-04-18T13:44:27.097" v="8106" actId="1035"/>
          <ac:spMkLst>
            <pc:docMk/>
            <pc:sldMk cId="281680118" sldId="508"/>
            <ac:spMk id="48" creationId="{377EB056-F8DD-4731-800B-117D8EC57019}"/>
          </ac:spMkLst>
        </pc:spChg>
        <pc:spChg chg="add mod">
          <ac:chgData name="zur bonsen georg" userId="5444515566c7376a" providerId="LiveId" clId="{18CD7E6B-2C8E-405B-A237-843B9FC9D457}" dt="2022-04-18T13:45:07.748" v="8123" actId="20577"/>
          <ac:spMkLst>
            <pc:docMk/>
            <pc:sldMk cId="281680118" sldId="508"/>
            <ac:spMk id="49" creationId="{4F8DF516-9F57-4601-9EBA-31382BB51905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50" creationId="{B24D4BB0-2B0E-4020-BE20-40352A0CE595}"/>
          </ac:spMkLst>
        </pc:spChg>
        <pc:spChg chg="add mod">
          <ac:chgData name="zur bonsen georg" userId="5444515566c7376a" providerId="LiveId" clId="{18CD7E6B-2C8E-405B-A237-843B9FC9D457}" dt="2022-04-18T13:46:05.486" v="8174" actId="20577"/>
          <ac:spMkLst>
            <pc:docMk/>
            <pc:sldMk cId="281680118" sldId="508"/>
            <ac:spMk id="51" creationId="{2380098F-B36B-4A3F-AAD5-FD4205B62090}"/>
          </ac:spMkLst>
        </pc:spChg>
        <pc:spChg chg="add mod">
          <ac:chgData name="zur bonsen georg" userId="5444515566c7376a" providerId="LiveId" clId="{18CD7E6B-2C8E-405B-A237-843B9FC9D457}" dt="2022-04-18T13:39:07.028" v="7916" actId="20577"/>
          <ac:spMkLst>
            <pc:docMk/>
            <pc:sldMk cId="281680118" sldId="508"/>
            <ac:spMk id="55" creationId="{BCC1096A-708E-49A0-BFA7-53DD19D2F173}"/>
          </ac:spMkLst>
        </pc:spChg>
        <pc:spChg chg="add mod">
          <ac:chgData name="zur bonsen georg" userId="5444515566c7376a" providerId="LiveId" clId="{18CD7E6B-2C8E-405B-A237-843B9FC9D457}" dt="2022-04-18T13:39:58.180" v="7953" actId="14100"/>
          <ac:spMkLst>
            <pc:docMk/>
            <pc:sldMk cId="281680118" sldId="508"/>
            <ac:spMk id="56" creationId="{D16472FF-92A5-42AF-AF10-8071C751CE69}"/>
          </ac:spMkLst>
        </pc:spChg>
        <pc:spChg chg="add mod">
          <ac:chgData name="zur bonsen georg" userId="5444515566c7376a" providerId="LiveId" clId="{18CD7E6B-2C8E-405B-A237-843B9FC9D457}" dt="2022-04-18T13:56:11.571" v="8414" actId="6549"/>
          <ac:spMkLst>
            <pc:docMk/>
            <pc:sldMk cId="281680118" sldId="508"/>
            <ac:spMk id="57" creationId="{DF90F11F-3657-4749-8D2B-091CBD9256BA}"/>
          </ac:spMkLst>
        </pc:spChg>
        <pc:spChg chg="add mod">
          <ac:chgData name="zur bonsen georg" userId="5444515566c7376a" providerId="LiveId" clId="{18CD7E6B-2C8E-405B-A237-843B9FC9D457}" dt="2022-04-18T13:46:24.271" v="8209" actId="207"/>
          <ac:spMkLst>
            <pc:docMk/>
            <pc:sldMk cId="281680118" sldId="508"/>
            <ac:spMk id="58" creationId="{BEFE14AC-3C68-4A2B-BC8B-87812F574905}"/>
          </ac:spMkLst>
        </pc:spChg>
        <pc:spChg chg="add mod">
          <ac:chgData name="zur bonsen georg" userId="5444515566c7376a" providerId="LiveId" clId="{18CD7E6B-2C8E-405B-A237-843B9FC9D457}" dt="2022-04-18T13:47:59.958" v="8287" actId="6549"/>
          <ac:spMkLst>
            <pc:docMk/>
            <pc:sldMk cId="281680118" sldId="508"/>
            <ac:spMk id="59" creationId="{F440942B-C3C3-43D1-BA40-CAC1784C1598}"/>
          </ac:spMkLst>
        </pc:spChg>
        <pc:spChg chg="add del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60" creationId="{088ADC96-E6E1-4667-A590-625FDDABF764}"/>
          </ac:spMkLst>
        </pc:spChg>
        <pc:spChg chg="add mod">
          <ac:chgData name="zur bonsen georg" userId="5444515566c7376a" providerId="LiveId" clId="{18CD7E6B-2C8E-405B-A237-843B9FC9D457}" dt="2022-04-18T14:23:32.306" v="8482" actId="20577"/>
          <ac:spMkLst>
            <pc:docMk/>
            <pc:sldMk cId="281680118" sldId="508"/>
            <ac:spMk id="61" creationId="{40050787-26AA-4C70-942D-4112605B7352}"/>
          </ac:spMkLst>
        </pc:spChg>
        <pc:spChg chg="del">
          <ac:chgData name="zur bonsen georg" userId="5444515566c7376a" providerId="LiveId" clId="{18CD7E6B-2C8E-405B-A237-843B9FC9D457}" dt="2022-04-17T20:40:04.810" v="1803" actId="478"/>
          <ac:spMkLst>
            <pc:docMk/>
            <pc:sldMk cId="281680118" sldId="508"/>
            <ac:spMk id="66" creationId="{3ABCAEDF-CBB1-465E-8102-CBAACAAA9356}"/>
          </ac:spMkLst>
        </pc:spChg>
        <pc:spChg chg="mod">
          <ac:chgData name="zur bonsen georg" userId="5444515566c7376a" providerId="LiveId" clId="{18CD7E6B-2C8E-405B-A237-843B9FC9D457}" dt="2022-04-18T13:42:01.881" v="8032" actId="14100"/>
          <ac:spMkLst>
            <pc:docMk/>
            <pc:sldMk cId="281680118" sldId="508"/>
            <ac:spMk id="70" creationId="{10C88A69-70FD-476B-BC65-029D09FFCE3F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99" creationId="{927F121B-F8B4-4D44-A46D-641D9B714E05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05" creationId="{4DF3F716-9AA0-4699-8C65-2A4CB9997650}"/>
          </ac:spMkLst>
        </pc:spChg>
        <pc:spChg chg="del">
          <ac:chgData name="zur bonsen georg" userId="5444515566c7376a" providerId="LiveId" clId="{18CD7E6B-2C8E-405B-A237-843B9FC9D457}" dt="2022-04-17T20:39:00.063" v="1771" actId="478"/>
          <ac:spMkLst>
            <pc:docMk/>
            <pc:sldMk cId="281680118" sldId="508"/>
            <ac:spMk id="113" creationId="{69E15E5F-9525-4135-821B-6CDE0D1CB24D}"/>
          </ac:spMkLst>
        </pc:spChg>
        <pc:spChg chg="del">
          <ac:chgData name="zur bonsen georg" userId="5444515566c7376a" providerId="LiveId" clId="{18CD7E6B-2C8E-405B-A237-843B9FC9D457}" dt="2022-04-17T20:38:50.698" v="1769" actId="478"/>
          <ac:spMkLst>
            <pc:docMk/>
            <pc:sldMk cId="281680118" sldId="508"/>
            <ac:spMk id="118" creationId="{3026E471-369F-4FC4-A626-9F4F4AF835F5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39" creationId="{55FB7688-9E31-426C-9495-04A457FBABD7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40" creationId="{8AD8071C-3366-4EDD-9325-068A41938395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41" creationId="{C402E5DE-9A39-4EB4-9C01-38DFAE65DEB3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42" creationId="{EE0E4775-F85F-4A31-B1DF-397622C34EE8}"/>
          </ac:spMkLst>
        </pc:spChg>
        <pc:spChg chg="del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79" creationId="{38AF722D-27F3-4D5F-B4E0-D6786BD9D459}"/>
          </ac:spMkLst>
        </pc:spChg>
        <pc:cxnChg chg="add mod">
          <ac:chgData name="zur bonsen georg" userId="5444515566c7376a" providerId="LiveId" clId="{18CD7E6B-2C8E-405B-A237-843B9FC9D457}" dt="2022-04-18T13:36:24.429" v="7759"/>
          <ac:cxnSpMkLst>
            <pc:docMk/>
            <pc:sldMk cId="281680118" sldId="508"/>
            <ac:cxnSpMk id="29" creationId="{06FCFC51-5879-4F6B-94C7-B31079943250}"/>
          </ac:cxnSpMkLst>
        </pc:cxnChg>
        <pc:cxnChg chg="add mod">
          <ac:chgData name="zur bonsen georg" userId="5444515566c7376a" providerId="LiveId" clId="{18CD7E6B-2C8E-405B-A237-843B9FC9D457}" dt="2022-04-18T13:44:35.703" v="8108" actId="14100"/>
          <ac:cxnSpMkLst>
            <pc:docMk/>
            <pc:sldMk cId="281680118" sldId="508"/>
            <ac:cxnSpMk id="30" creationId="{82FC837B-7C24-4CE2-95E3-4D3B87F07330}"/>
          </ac:cxnSpMkLst>
        </pc:cxnChg>
        <pc:cxnChg chg="add del mod">
          <ac:chgData name="zur bonsen georg" userId="5444515566c7376a" providerId="LiveId" clId="{18CD7E6B-2C8E-405B-A237-843B9FC9D457}" dt="2022-04-18T13:36:28.427" v="7761" actId="478"/>
          <ac:cxnSpMkLst>
            <pc:docMk/>
            <pc:sldMk cId="281680118" sldId="508"/>
            <ac:cxnSpMk id="31" creationId="{D93642BB-93C7-4963-B6BB-B0285C294AF1}"/>
          </ac:cxnSpMkLst>
        </pc:cxnChg>
        <pc:cxnChg chg="add del mod">
          <ac:chgData name="zur bonsen georg" userId="5444515566c7376a" providerId="LiveId" clId="{18CD7E6B-2C8E-405B-A237-843B9FC9D457}" dt="2022-04-18T13:36:28.427" v="7761" actId="478"/>
          <ac:cxnSpMkLst>
            <pc:docMk/>
            <pc:sldMk cId="281680118" sldId="508"/>
            <ac:cxnSpMk id="32" creationId="{FE474EF4-257C-4118-AE15-2F1EF6246285}"/>
          </ac:cxnSpMkLst>
        </pc:cxnChg>
        <pc:cxnChg chg="add mod">
          <ac:chgData name="zur bonsen georg" userId="5444515566c7376a" providerId="LiveId" clId="{18CD7E6B-2C8E-405B-A237-843B9FC9D457}" dt="2022-04-18T13:44:17.527" v="8103" actId="1035"/>
          <ac:cxnSpMkLst>
            <pc:docMk/>
            <pc:sldMk cId="281680118" sldId="508"/>
            <ac:cxnSpMk id="35" creationId="{2B89A424-A068-464E-85F2-364440806F24}"/>
          </ac:cxnSpMkLst>
        </pc:cxnChg>
        <pc:cxnChg chg="add mod">
          <ac:chgData name="zur bonsen georg" userId="5444515566c7376a" providerId="LiveId" clId="{18CD7E6B-2C8E-405B-A237-843B9FC9D457}" dt="2022-04-18T13:44:21.744" v="8104" actId="1035"/>
          <ac:cxnSpMkLst>
            <pc:docMk/>
            <pc:sldMk cId="281680118" sldId="508"/>
            <ac:cxnSpMk id="37" creationId="{D721E8CD-BA13-4A1B-A1A6-A0E736B21248}"/>
          </ac:cxnSpMkLst>
        </pc:cxnChg>
        <pc:cxnChg chg="add mod">
          <ac:chgData name="zur bonsen georg" userId="5444515566c7376a" providerId="LiveId" clId="{18CD7E6B-2C8E-405B-A237-843B9FC9D457}" dt="2022-04-18T13:44:27.097" v="8106" actId="1035"/>
          <ac:cxnSpMkLst>
            <pc:docMk/>
            <pc:sldMk cId="281680118" sldId="508"/>
            <ac:cxnSpMk id="39" creationId="{3E1740EB-B10D-4B81-90F8-06D1653C9FC1}"/>
          </ac:cxnSpMkLst>
        </pc:cxnChg>
        <pc:cxnChg chg="add mod">
          <ac:chgData name="zur bonsen georg" userId="5444515566c7376a" providerId="LiveId" clId="{18CD7E6B-2C8E-405B-A237-843B9FC9D457}" dt="2022-04-18T13:44:30.857" v="8107" actId="1035"/>
          <ac:cxnSpMkLst>
            <pc:docMk/>
            <pc:sldMk cId="281680118" sldId="508"/>
            <ac:cxnSpMk id="43" creationId="{E5C7423F-D423-42C4-8355-9CEBD68B537F}"/>
          </ac:cxnSpMkLst>
        </pc:cxnChg>
        <pc:cxnChg chg="add 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52" creationId="{30F62E2C-85B3-4471-A3A2-15DAD474FF42}"/>
          </ac:cxnSpMkLst>
        </pc:cxnChg>
        <pc:cxnChg chg="add 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53" creationId="{A703CC46-5E55-412D-A652-E3D5A72D1B6E}"/>
          </ac:cxnSpMkLst>
        </pc:cxnChg>
        <pc:cxnChg chg="add 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54" creationId="{EC4AD096-2AA5-4EED-8070-3ED0DC2FB5BA}"/>
          </ac:cxnSpMkLst>
        </pc:cxnChg>
        <pc:cxnChg chg="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63" creationId="{EFBFE234-A777-42B3-B97B-9C4B44000D41}"/>
          </ac:cxnSpMkLst>
        </pc:cxnChg>
        <pc:cxnChg chg="del mod">
          <ac:chgData name="zur bonsen georg" userId="5444515566c7376a" providerId="LiveId" clId="{18CD7E6B-2C8E-405B-A237-843B9FC9D457}" dt="2022-04-17T20:39:12.305" v="1776" actId="478"/>
          <ac:cxnSpMkLst>
            <pc:docMk/>
            <pc:sldMk cId="281680118" sldId="508"/>
            <ac:cxnSpMk id="67" creationId="{20A55B09-D86E-4FB5-8BE5-BE84F5EAC408}"/>
          </ac:cxnSpMkLst>
        </pc:cxnChg>
        <pc:cxnChg chg="del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114" creationId="{DC2FC9AC-EC14-43A0-AB3C-158A9F3C0158}"/>
          </ac:cxnSpMkLst>
        </pc:cxnChg>
        <pc:cxnChg chg="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124" creationId="{81E93DEE-B453-4DF5-94E8-73BF4C0D46DA}"/>
          </ac:cxnSpMkLst>
        </pc:cxnChg>
        <pc:cxnChg chg="del mod">
          <ac:chgData name="zur bonsen georg" userId="5444515566c7376a" providerId="LiveId" clId="{18CD7E6B-2C8E-405B-A237-843B9FC9D457}" dt="2022-04-17T20:45:27.006" v="2297" actId="478"/>
          <ac:cxnSpMkLst>
            <pc:docMk/>
            <pc:sldMk cId="281680118" sldId="508"/>
            <ac:cxnSpMk id="125" creationId="{BC697433-001F-4FF9-8D1D-480698A09F57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27" creationId="{0DCEEC31-45D2-4933-BB48-F678476B1889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29" creationId="{C75B3B39-4AEA-48D6-81E0-B1358B326DB5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32" creationId="{4F4A6C18-B7F9-4A7C-AA45-B0C3B134EAEA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33" creationId="{6FDBC69C-7FF3-499E-9AC2-8DE923A74EAE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34" creationId="{630AC9E0-0A12-4266-939B-B4B096667E0F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35" creationId="{D7A90912-280E-4192-849B-F6F1E70B37CF}"/>
          </ac:cxnSpMkLst>
        </pc:cxnChg>
      </pc:sldChg>
      <pc:sldChg chg="addSp delSp modSp add del mod">
        <pc:chgData name="zur bonsen georg" userId="5444515566c7376a" providerId="LiveId" clId="{18CD7E6B-2C8E-405B-A237-843B9FC9D457}" dt="2022-04-18T13:07:10.732" v="7113" actId="47"/>
        <pc:sldMkLst>
          <pc:docMk/>
          <pc:sldMk cId="552021000" sldId="509"/>
        </pc:sldMkLst>
        <pc:spChg chg="add del mod">
          <ac:chgData name="zur bonsen georg" userId="5444515566c7376a" providerId="LiveId" clId="{18CD7E6B-2C8E-405B-A237-843B9FC9D457}" dt="2022-04-18T07:09:31.343" v="6217" actId="478"/>
          <ac:spMkLst>
            <pc:docMk/>
            <pc:sldMk cId="552021000" sldId="509"/>
            <ac:spMk id="3" creationId="{86FE369B-291F-45A8-89B4-64E68138EEA5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4" creationId="{1046A89F-E586-4B65-833B-B056A52959D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35" creationId="{E6FD1F8A-1E29-4082-BD8E-B68439FB0EC7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37" creationId="{6E1BCBB0-D175-4259-B26F-C597A81DC306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39" creationId="{3DE79C33-9C3E-4819-BD35-A6EAA83F0B6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43" creationId="{9746CE75-FD5E-40C8-929C-8E593A67016C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45" creationId="{1001E8B8-A0F6-445F-B5B1-9C80B6D9597F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46" creationId="{092E4CD3-7EEF-4BE3-9288-2551EFE145C9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47" creationId="{B0B8E2A1-27CC-4395-94ED-4E17733B66E8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54" creationId="{481A2274-F4BB-44ED-A009-B97EC6ED0B43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63" creationId="{59D6DF6A-90B4-4CE3-AF8D-19DBC262DF35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64" creationId="{FA6A6686-7669-4E63-8D4C-551D23F14592}"/>
          </ac:spMkLst>
        </pc:spChg>
        <pc:spChg chg="add del mod">
          <ac:chgData name="zur bonsen georg" userId="5444515566c7376a" providerId="LiveId" clId="{18CD7E6B-2C8E-405B-A237-843B9FC9D457}" dt="2022-04-18T07:24:50.494" v="6460" actId="478"/>
          <ac:spMkLst>
            <pc:docMk/>
            <pc:sldMk cId="552021000" sldId="509"/>
            <ac:spMk id="65" creationId="{F024CBB8-422C-44F4-B717-C9DEC68FB0FF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66" creationId="{D7C282CA-03E0-432E-90D2-46A21ADDEB6B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67" creationId="{6E8CDEE8-8744-46BF-ADBE-5DBFE1910F6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68" creationId="{24EADCBD-36BA-455B-9DA5-C3EA6132198B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69" creationId="{7D2C2B39-C74C-421A-972B-4BBF9B6796F3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0" creationId="{9B2BE8EB-3FF3-4D8B-98EB-75AE6CE91B7F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1" creationId="{E699835E-791E-4EE6-90C5-4F747C440860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2" creationId="{3297C2DF-28DE-418C-8B2F-3AA00F6A167D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3" creationId="{27ECAD0F-6088-4E3F-A5C6-0A315AC6440A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4" creationId="{6650F46B-68FE-467B-A67C-65354DE5EFC8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5" creationId="{A1501889-DF3B-413D-8BF2-F9085FFD27A9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6" creationId="{C161AAA1-F453-49C0-8095-E72264352C0E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7" creationId="{A45AF967-822E-4103-852D-168CE2E5153B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8" creationId="{B673E06C-21EA-4533-B3C6-26AF672E1587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9" creationId="{8B13D5CF-57EF-457A-9962-ED8814EA3851}"/>
          </ac:spMkLst>
        </pc:spChg>
        <pc:spChg chg="add del mod or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0" creationId="{C77BE7FB-FA68-43E1-986A-F243BFD806B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1" creationId="{25AB34E7-371E-4C85-B4D8-731F3244EE03}"/>
          </ac:spMkLst>
        </pc:spChg>
        <pc:spChg chg="add del mod or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5" creationId="{F8883378-1B0D-4E32-BBF2-A3D8BBD4621E}"/>
          </ac:spMkLst>
        </pc:spChg>
        <pc:spChg chg="add del mod or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6" creationId="{BDF35AB9-BEB8-426F-91C3-EE70A8B8E5A7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7" creationId="{5F811C55-C066-4D33-A253-5A901D75DDE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8" creationId="{654BC8F4-365C-4AFC-91A5-AC7FE1356F0C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89" creationId="{90BDBA5A-3D0E-47A3-B284-CEF26F60B1B0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90" creationId="{43C45C2E-950A-43A4-955E-B7837A1957E5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91" creationId="{4B6288E5-5141-4C33-A87C-4BEA2577B312}"/>
          </ac:spMkLst>
        </pc:spChg>
        <pc:spChg chg="add del mod">
          <ac:chgData name="zur bonsen georg" userId="5444515566c7376a" providerId="LiveId" clId="{18CD7E6B-2C8E-405B-A237-843B9FC9D457}" dt="2022-04-18T06:33:17.262" v="4886" actId="478"/>
          <ac:spMkLst>
            <pc:docMk/>
            <pc:sldMk cId="552021000" sldId="509"/>
            <ac:spMk id="92" creationId="{C5CBCFEE-F1AE-4CD4-86D3-7FEFADD18720}"/>
          </ac:spMkLst>
        </pc:spChg>
        <pc:spChg chg="add del mod">
          <ac:chgData name="zur bonsen georg" userId="5444515566c7376a" providerId="LiveId" clId="{18CD7E6B-2C8E-405B-A237-843B9FC9D457}" dt="2022-04-18T07:00:21.988" v="6095" actId="478"/>
          <ac:spMkLst>
            <pc:docMk/>
            <pc:sldMk cId="552021000" sldId="509"/>
            <ac:spMk id="93" creationId="{8FEFA7E4-CF69-4C81-B6AD-579834057E5D}"/>
          </ac:spMkLst>
        </pc:spChg>
        <pc:spChg chg="add del mod">
          <ac:chgData name="zur bonsen georg" userId="5444515566c7376a" providerId="LiveId" clId="{18CD7E6B-2C8E-405B-A237-843B9FC9D457}" dt="2022-04-18T07:00:21.988" v="6095" actId="478"/>
          <ac:spMkLst>
            <pc:docMk/>
            <pc:sldMk cId="552021000" sldId="509"/>
            <ac:spMk id="94" creationId="{4796A647-5958-400E-BA2C-23347B899D1F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95" creationId="{1876A4DD-C6B9-4911-95AE-A1BDFC478F6E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96" creationId="{24A7322F-FDF6-41F4-A1B5-4739450DDE81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97" creationId="{4FA8C883-FC7E-4903-8C53-43AF5E6B216A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98" creationId="{CD73203E-F856-4AB1-BD01-006A1C4DA75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99" creationId="{927F121B-F8B4-4D44-A46D-641D9B714E05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00" creationId="{D9E524F6-DEDE-40A9-AAC7-E7013ED2F6F9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01" creationId="{B97C9082-A171-4F93-89EE-C286EE6C509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02" creationId="{609712B9-1A6D-42B9-8683-72AA648F7FCE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03" creationId="{EAEFE983-4976-4C8B-88F0-B563C8E71F08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04" creationId="{BDBFE104-73F4-4BA9-A3EF-E0F1D3D78B3B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05" creationId="{4DF3F716-9AA0-4699-8C65-2A4CB9997650}"/>
          </ac:spMkLst>
        </pc:spChg>
        <pc:spChg chg="add del mod ord">
          <ac:chgData name="zur bonsen georg" userId="5444515566c7376a" providerId="LiveId" clId="{18CD7E6B-2C8E-405B-A237-843B9FC9D457}" dt="2022-04-18T07:00:21.988" v="6095" actId="478"/>
          <ac:spMkLst>
            <pc:docMk/>
            <pc:sldMk cId="552021000" sldId="509"/>
            <ac:spMk id="106" creationId="{2C9D7240-1DB9-441F-BA73-33531213F6A0}"/>
          </ac:spMkLst>
        </pc:spChg>
        <pc:spChg chg="add del mod">
          <ac:chgData name="zur bonsen georg" userId="5444515566c7376a" providerId="LiveId" clId="{18CD7E6B-2C8E-405B-A237-843B9FC9D457}" dt="2022-04-18T07:24:47.469" v="6459" actId="478"/>
          <ac:spMkLst>
            <pc:docMk/>
            <pc:sldMk cId="552021000" sldId="509"/>
            <ac:spMk id="107" creationId="{F826416E-AB9E-4F96-BB8D-2C93727FE696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08" creationId="{9E0E2376-6D13-4DDE-9364-CF47A8A51392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09" creationId="{D74EEDAB-9C7B-497C-9AE9-2B40C560D2FF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10" creationId="{CB9C0CD7-0523-4FC2-BAC1-403F4784D435}"/>
          </ac:spMkLst>
        </pc:spChg>
        <pc:spChg chg="add del mod ord">
          <ac:chgData name="zur bonsen georg" userId="5444515566c7376a" providerId="LiveId" clId="{18CD7E6B-2C8E-405B-A237-843B9FC9D457}" dt="2022-04-18T07:24:54.407" v="6461" actId="478"/>
          <ac:spMkLst>
            <pc:docMk/>
            <pc:sldMk cId="552021000" sldId="509"/>
            <ac:spMk id="111" creationId="{46C68534-E818-4A52-BF2A-9F97522765A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12" creationId="{1653CB6D-C51F-4D27-A010-85080B6CF3C8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13" creationId="{69E15E5F-9525-4135-821B-6CDE0D1CB24D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15" creationId="{6EEB48F0-9767-4B6E-8752-5D32AC4B5587}"/>
          </ac:spMkLst>
        </pc:spChg>
        <pc:spChg chg="add del mod">
          <ac:chgData name="zur bonsen georg" userId="5444515566c7376a" providerId="LiveId" clId="{18CD7E6B-2C8E-405B-A237-843B9FC9D457}" dt="2022-04-18T07:14:34.303" v="6407" actId="478"/>
          <ac:spMkLst>
            <pc:docMk/>
            <pc:sldMk cId="552021000" sldId="509"/>
            <ac:spMk id="116" creationId="{D69C167F-671D-4562-AFB3-E29E0EC84331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17" creationId="{C4D49D88-C573-4F51-B773-846CE4C78E56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18" creationId="{3026E471-369F-4FC4-A626-9F4F4AF835F5}"/>
          </ac:spMkLst>
        </pc:spChg>
        <pc:spChg chg="add del mod">
          <ac:chgData name="zur bonsen georg" userId="5444515566c7376a" providerId="LiveId" clId="{18CD7E6B-2C8E-405B-A237-843B9FC9D457}" dt="2022-04-18T07:14:34.303" v="6407" actId="478"/>
          <ac:spMkLst>
            <pc:docMk/>
            <pc:sldMk cId="552021000" sldId="509"/>
            <ac:spMk id="119" creationId="{41F5A948-DB75-479F-B47B-7F08A21026E6}"/>
          </ac:spMkLst>
        </pc:spChg>
        <pc:spChg chg="add del mod">
          <ac:chgData name="zur bonsen georg" userId="5444515566c7376a" providerId="LiveId" clId="{18CD7E6B-2C8E-405B-A237-843B9FC9D457}" dt="2022-04-18T07:00:21.988" v="6095" actId="478"/>
          <ac:spMkLst>
            <pc:docMk/>
            <pc:sldMk cId="552021000" sldId="509"/>
            <ac:spMk id="120" creationId="{26E13176-2C08-4CF6-8025-C0D28E7C55B6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21" creationId="{ACC0399D-17F5-4015-863B-0EC1D5A2291E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22" creationId="{E21C2135-4099-490D-B8F0-B1CF2F71C05B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23" creationId="{16F5CE86-CF18-47F5-8E97-AA127F11F262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26" creationId="{CF876EC3-C55E-4ADE-B4B5-52D24FD7AA60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28" creationId="{28845DD6-129C-49B1-B1FD-BB207A1F423F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30" creationId="{63D1935B-2F88-4B27-A250-B7A19EB0DD0E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31" creationId="{E468455B-7FD0-4EFE-B29D-9815F3D10ADD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36" creationId="{D78FE0B3-BA4B-4BD6-9407-85A9D6B88301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37" creationId="{05A523E5-E4BE-4FE9-BE19-BFA5E0C66AF0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38" creationId="{A0F690F2-E562-4E01-9EFC-48DADB948D68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39" creationId="{55FB7688-9E31-426C-9495-04A457FBABD7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0" creationId="{8AD8071C-3366-4EDD-9325-068A4193839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1" creationId="{C402E5DE-9A39-4EB4-9C01-38DFAE65DEB3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2" creationId="{EE0E4775-F85F-4A31-B1DF-397622C34EE8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3" creationId="{8411AF6A-9D0F-48E3-821B-BDC20301A24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4" creationId="{B73151BB-F4A6-467E-A640-9461637880B2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5" creationId="{F1A6728C-0D0F-437C-9808-6102388D262B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6" creationId="{B99A89BB-6C08-4F63-8928-338BD0FA4906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7" creationId="{70DCD7E0-78AB-482C-BE6F-E13CED6E8807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8" creationId="{3DECD778-1762-47B6-ABC2-615C08385F3A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9" creationId="{D956C4D5-AA7A-4731-81FA-AD748E2BB761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50" creationId="{5998A0C6-2076-4A83-97B6-A83FBD3934F9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51" creationId="{D56037E5-12FD-4878-BE65-656D81FCA390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53" creationId="{08CFE294-85F5-4497-8E12-7E071EC5F3CB}"/>
          </ac:spMkLst>
        </pc:spChg>
        <pc:spChg chg="add del mod ord">
          <ac:chgData name="zur bonsen georg" userId="5444515566c7376a" providerId="LiveId" clId="{18CD7E6B-2C8E-405B-A237-843B9FC9D457}" dt="2022-04-18T07:17:16.052" v="6434" actId="478"/>
          <ac:spMkLst>
            <pc:docMk/>
            <pc:sldMk cId="552021000" sldId="509"/>
            <ac:spMk id="155" creationId="{0151C49D-0FEC-4991-AE36-C226AFFFAC0A}"/>
          </ac:spMkLst>
        </pc:spChg>
        <pc:spChg chg="add del mod ord">
          <ac:chgData name="zur bonsen georg" userId="5444515566c7376a" providerId="LiveId" clId="{18CD7E6B-2C8E-405B-A237-843B9FC9D457}" dt="2022-04-18T07:17:16.052" v="6434" actId="478"/>
          <ac:spMkLst>
            <pc:docMk/>
            <pc:sldMk cId="552021000" sldId="509"/>
            <ac:spMk id="157" creationId="{3011F316-1E8F-43C0-8FE1-D8F13BBB38F2}"/>
          </ac:spMkLst>
        </pc:spChg>
        <pc:spChg chg="add del mod ord">
          <ac:chgData name="zur bonsen georg" userId="5444515566c7376a" providerId="LiveId" clId="{18CD7E6B-2C8E-405B-A237-843B9FC9D457}" dt="2022-04-18T07:11:42.821" v="6228" actId="478"/>
          <ac:spMkLst>
            <pc:docMk/>
            <pc:sldMk cId="552021000" sldId="509"/>
            <ac:spMk id="159" creationId="{7C10FAB5-CD72-47E1-9FAA-395DB1F3D8AE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61" creationId="{5BD9BCD4-C444-47C8-977D-D60BCF7E78F8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62" creationId="{22BF0630-6D7E-495C-A370-9F9EF4EC2639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63" creationId="{B1854B0C-A907-4A76-B768-5F1107F5076D}"/>
          </ac:spMkLst>
        </pc:spChg>
        <pc:spChg chg="add del mod">
          <ac:chgData name="zur bonsen georg" userId="5444515566c7376a" providerId="LiveId" clId="{18CD7E6B-2C8E-405B-A237-843B9FC9D457}" dt="2022-04-18T07:14:34.303" v="6407" actId="478"/>
          <ac:spMkLst>
            <pc:docMk/>
            <pc:sldMk cId="552021000" sldId="509"/>
            <ac:spMk id="164" creationId="{4D48275A-B7A9-46A4-A80A-8C85CB9DFC1F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66" creationId="{321B45F8-2318-40A9-AC8C-014E243BF560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67" creationId="{D5F2904A-962B-48F1-9BB7-1AE2C2255D9B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68" creationId="{D85A19BC-6541-4A5F-8D1F-41C9CD79B326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70" creationId="{12B54D2E-04E6-461A-A577-498A86E5AFE9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71" creationId="{B6C91FA8-5108-4E95-8234-D224A5B2EEE8}"/>
          </ac:spMkLst>
        </pc:spChg>
        <pc:spChg chg="add del mod">
          <ac:chgData name="zur bonsen georg" userId="5444515566c7376a" providerId="LiveId" clId="{18CD7E6B-2C8E-405B-A237-843B9FC9D457}" dt="2022-04-18T07:17:13.974" v="6432"/>
          <ac:spMkLst>
            <pc:docMk/>
            <pc:sldMk cId="552021000" sldId="509"/>
            <ac:spMk id="172" creationId="{3937B812-592F-4A0D-B4E8-7F4ECF0992E2}"/>
          </ac:spMkLst>
        </pc:spChg>
        <pc:spChg chg="add del mod">
          <ac:chgData name="zur bonsen georg" userId="5444515566c7376a" providerId="LiveId" clId="{18CD7E6B-2C8E-405B-A237-843B9FC9D457}" dt="2022-04-18T07:17:13.974" v="6432"/>
          <ac:spMkLst>
            <pc:docMk/>
            <pc:sldMk cId="552021000" sldId="509"/>
            <ac:spMk id="173" creationId="{936E013F-0AC4-4D24-83FF-34EC542424AF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74" creationId="{122F2B21-B179-45A5-980B-0331EFDAF2C6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75" creationId="{6B7C39A3-42A5-4AB3-B8D6-F9E86ECE753C}"/>
          </ac:spMkLst>
        </pc:spChg>
        <pc:spChg chg="del">
          <ac:chgData name="zur bonsen georg" userId="5444515566c7376a" providerId="LiveId" clId="{18CD7E6B-2C8E-405B-A237-843B9FC9D457}" dt="2022-04-18T07:24:54.407" v="6461" actId="478"/>
          <ac:spMkLst>
            <pc:docMk/>
            <pc:sldMk cId="552021000" sldId="509"/>
            <ac:spMk id="179" creationId="{38AF722D-27F3-4D5F-B4E0-D6786BD9D459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80" creationId="{E43B945B-A893-423A-9B7D-2E5BD82266D4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81" creationId="{910DEE03-A1B8-4295-B1D4-6154C7D14CB2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210" creationId="{E1515105-8407-4EC9-8127-25E693F040F6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211" creationId="{58ADEFC7-FBB4-4B76-B281-6ADA90308C4F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212" creationId="{D097D94D-08E5-4308-AED2-B01F44B94A69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213" creationId="{A027EED1-3F42-4882-8342-7E4CFF3BBB24}"/>
          </ac:spMkLst>
        </pc:spChg>
        <pc:picChg chg="del">
          <ac:chgData name="zur bonsen georg" userId="5444515566c7376a" providerId="LiveId" clId="{18CD7E6B-2C8E-405B-A237-843B9FC9D457}" dt="2022-04-18T07:21:23.001" v="6458" actId="21"/>
          <ac:picMkLst>
            <pc:docMk/>
            <pc:sldMk cId="552021000" sldId="509"/>
            <ac:picMk id="12" creationId="{333081D6-1A57-43D4-9363-C1D8B8BA8A36}"/>
          </ac:picMkLst>
        </pc:picChg>
        <pc:cxnChg chg="add del mod">
          <ac:chgData name="zur bonsen georg" userId="5444515566c7376a" providerId="LiveId" clId="{18CD7E6B-2C8E-405B-A237-843B9FC9D457}" dt="2022-04-18T07:04:57.375" v="6176" actId="478"/>
          <ac:cxnSpMkLst>
            <pc:docMk/>
            <pc:sldMk cId="552021000" sldId="509"/>
            <ac:cxnSpMk id="6" creationId="{5C539975-CDA2-4631-92D2-375E6A1DBBDC}"/>
          </ac:cxnSpMkLst>
        </pc:cxnChg>
        <pc:cxnChg chg="add del">
          <ac:chgData name="zur bonsen georg" userId="5444515566c7376a" providerId="LiveId" clId="{18CD7E6B-2C8E-405B-A237-843B9FC9D457}" dt="2022-04-18T07:18:29.152" v="6455" actId="478"/>
          <ac:cxnSpMkLst>
            <pc:docMk/>
            <pc:sldMk cId="552021000" sldId="509"/>
            <ac:cxnSpMk id="9" creationId="{235638B4-324C-42C8-B676-0887ED60D874}"/>
          </ac:cxnSpMkLst>
        </pc:cxnChg>
        <pc:cxnChg chg="add del">
          <ac:chgData name="zur bonsen georg" userId="5444515566c7376a" providerId="LiveId" clId="{18CD7E6B-2C8E-405B-A237-843B9FC9D457}" dt="2022-04-18T07:30:40.688" v="6711" actId="478"/>
          <ac:cxnSpMkLst>
            <pc:docMk/>
            <pc:sldMk cId="552021000" sldId="509"/>
            <ac:cxnSpMk id="11" creationId="{88EEAF90-602A-40DA-93B6-4C6DEF63B379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59" creationId="{AF61FCA3-65F3-40C8-822C-E107E29A282C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61" creationId="{C430D2CC-2AA6-4E4D-9838-C7CFA7BD9803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14" creationId="{DC2FC9AC-EC14-43A0-AB3C-158A9F3C0158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24" creationId="{81E93DEE-B453-4DF5-94E8-73BF4C0D46DA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25" creationId="{BC697433-001F-4FF9-8D1D-480698A09F57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27" creationId="{0DCEEC31-45D2-4933-BB48-F678476B1889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29" creationId="{C75B3B39-4AEA-48D6-81E0-B1358B326DB5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32" creationId="{4F4A6C18-B7F9-4A7C-AA45-B0C3B134EAEA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33" creationId="{6FDBC69C-7FF3-499E-9AC2-8DE923A74EAE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34" creationId="{630AC9E0-0A12-4266-939B-B4B096667E0F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35" creationId="{D7A90912-280E-4192-849B-F6F1E70B37CF}"/>
          </ac:cxnSpMkLst>
        </pc:cxnChg>
        <pc:cxnChg chg="del mod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52" creationId="{BEA02FC8-3441-4539-857C-F7D97D5F1FF5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54" creationId="{08C86592-80E2-4833-AD2E-01CFE9AF5FBA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56" creationId="{BE5E2061-CEE8-4D61-8B48-B85681B18D44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58" creationId="{F21BC139-4871-4358-A19E-ED39FBA51B8D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60" creationId="{3276C4E3-2922-4070-8BA3-0D7330844793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65" creationId="{BDD84929-517E-446E-A428-F6CDBF6B5344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69" creationId="{2EF7A6D4-5BC6-46C3-922B-155F954DD878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77" creationId="{C577E9DB-630A-43F4-A69C-E9F525B66CA8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85" creationId="{64A962DC-8323-4AC9-95A4-4A33DE234132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91" creationId="{E4EB1583-7CE0-4BDB-925A-E28DB063FA2A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97" creationId="{98F933B7-C865-4BE4-8353-B74A62EA369E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203" creationId="{55D7DB27-69AA-4407-AA7E-D4B7F7E1E04F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207" creationId="{253D21A1-7E4B-49C2-AD35-8F2B46E3E1DF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208" creationId="{83495546-1FA7-4E39-B7E0-51E9A4997CFA}"/>
          </ac:cxnSpMkLst>
        </pc:cxnChg>
      </pc:sldChg>
      <pc:sldChg chg="addSp delSp modSp add del mod">
        <pc:chgData name="zur bonsen georg" userId="5444515566c7376a" providerId="LiveId" clId="{18CD7E6B-2C8E-405B-A237-843B9FC9D457}" dt="2022-04-18T13:07:24.864" v="7114" actId="47"/>
        <pc:sldMkLst>
          <pc:docMk/>
          <pc:sldMk cId="4220607238" sldId="510"/>
        </pc:sldMkLst>
        <pc:spChg chg="mod">
          <ac:chgData name="zur bonsen georg" userId="5444515566c7376a" providerId="LiveId" clId="{18CD7E6B-2C8E-405B-A237-843B9FC9D457}" dt="2022-04-18T13:06:57.092" v="7110" actId="20577"/>
          <ac:spMkLst>
            <pc:docMk/>
            <pc:sldMk cId="4220607238" sldId="510"/>
            <ac:spMk id="2" creationId="{00000000-0000-0000-0000-000000000000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3" creationId="{86FE369B-291F-45A8-89B4-64E68138EEA5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4" creationId="{1046A89F-E586-4B65-833B-B056A52959D5}"/>
          </ac:spMkLst>
        </pc:spChg>
        <pc:spChg chg="del mod">
          <ac:chgData name="zur bonsen georg" userId="5444515566c7376a" providerId="LiveId" clId="{18CD7E6B-2C8E-405B-A237-843B9FC9D457}" dt="2022-04-18T07:35:37.755" v="6845" actId="478"/>
          <ac:spMkLst>
            <pc:docMk/>
            <pc:sldMk cId="4220607238" sldId="510"/>
            <ac:spMk id="58" creationId="{D8C210A5-F5EF-4821-A905-C2AC5EC6B7F3}"/>
          </ac:spMkLst>
        </pc:spChg>
        <pc:spChg chg="add del mod">
          <ac:chgData name="zur bonsen georg" userId="5444515566c7376a" providerId="LiveId" clId="{18CD7E6B-2C8E-405B-A237-843B9FC9D457}" dt="2022-04-18T07:06:53.333" v="6198" actId="478"/>
          <ac:spMkLst>
            <pc:docMk/>
            <pc:sldMk cId="4220607238" sldId="510"/>
            <ac:spMk id="59" creationId="{560AD3B0-8C9E-4628-950B-F671725C0141}"/>
          </ac:spMkLst>
        </pc:spChg>
        <pc:spChg chg="add del mod">
          <ac:chgData name="zur bonsen georg" userId="5444515566c7376a" providerId="LiveId" clId="{18CD7E6B-2C8E-405B-A237-843B9FC9D457}" dt="2022-04-18T07:06:53.333" v="6198" actId="478"/>
          <ac:spMkLst>
            <pc:docMk/>
            <pc:sldMk cId="4220607238" sldId="510"/>
            <ac:spMk id="60" creationId="{6CCC2926-2D86-4099-88D3-5BD4E122BA6A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61" creationId="{131AAD5E-493D-4C5A-814D-3CD4588BBD32}"/>
          </ac:spMkLst>
        </pc:spChg>
        <pc:spChg chg="add del mod">
          <ac:chgData name="zur bonsen georg" userId="5444515566c7376a" providerId="LiveId" clId="{18CD7E6B-2C8E-405B-A237-843B9FC9D457}" dt="2022-04-18T07:06:52.004" v="6197" actId="478"/>
          <ac:spMkLst>
            <pc:docMk/>
            <pc:sldMk cId="4220607238" sldId="510"/>
            <ac:spMk id="62" creationId="{77EA0E5C-8136-4381-A81A-1E39FEC2162A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63" creationId="{59D6DF6A-90B4-4CE3-AF8D-19DBC262DF35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64" creationId="{FA6A6686-7669-4E63-8D4C-551D23F14592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65" creationId="{F024CBB8-422C-44F4-B717-C9DEC68FB0FF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66" creationId="{D7C282CA-03E0-432E-90D2-46A21ADDEB6B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67" creationId="{6E8CDEE8-8744-46BF-ADBE-5DBFE1910F6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68" creationId="{24EADCBD-36BA-455B-9DA5-C3EA6132198B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69" creationId="{7D2C2B39-C74C-421A-972B-4BBF9B6796F3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0" creationId="{9B2BE8EB-3FF3-4D8B-98EB-75AE6CE91B7F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1" creationId="{E699835E-791E-4EE6-90C5-4F747C440860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2" creationId="{3297C2DF-28DE-418C-8B2F-3AA00F6A167D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3" creationId="{27ECAD0F-6088-4E3F-A5C6-0A315AC6440A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4" creationId="{6650F46B-68FE-467B-A67C-65354DE5EFC8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5" creationId="{A1501889-DF3B-413D-8BF2-F9085FFD27A9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6" creationId="{C161AAA1-F453-49C0-8095-E72264352C0E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7" creationId="{A45AF967-822E-4103-852D-168CE2E5153B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8" creationId="{B673E06C-21EA-4533-B3C6-26AF672E1587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9" creationId="{8B13D5CF-57EF-457A-9962-ED8814EA3851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0" creationId="{C77BE7FB-FA68-43E1-986A-F243BFD806B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1" creationId="{25AB34E7-371E-4C85-B4D8-731F3244EE03}"/>
          </ac:spMkLst>
        </pc:spChg>
        <pc:spChg chg="add del mod">
          <ac:chgData name="zur bonsen georg" userId="5444515566c7376a" providerId="LiveId" clId="{18CD7E6B-2C8E-405B-A237-843B9FC9D457}" dt="2022-04-18T07:06:52.004" v="6197" actId="478"/>
          <ac:spMkLst>
            <pc:docMk/>
            <pc:sldMk cId="4220607238" sldId="510"/>
            <ac:spMk id="82" creationId="{BBCF788B-9FD7-466E-9174-234B028D9D5E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83" creationId="{673E8FAB-BE94-4B58-80D1-0B1061A90ECF}"/>
          </ac:spMkLst>
        </pc:spChg>
        <pc:spChg chg="add del mod">
          <ac:chgData name="zur bonsen georg" userId="5444515566c7376a" providerId="LiveId" clId="{18CD7E6B-2C8E-405B-A237-843B9FC9D457}" dt="2022-04-18T07:06:50.486" v="6196" actId="478"/>
          <ac:spMkLst>
            <pc:docMk/>
            <pc:sldMk cId="4220607238" sldId="510"/>
            <ac:spMk id="84" creationId="{37F83997-21ED-4F7C-803C-F0A3D14F6561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5" creationId="{F8883378-1B0D-4E32-BBF2-A3D8BBD4621E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6" creationId="{BDF35AB9-BEB8-426F-91C3-EE70A8B8E5A7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7" creationId="{5F811C55-C066-4D33-A253-5A901D75DDE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8" creationId="{654BC8F4-365C-4AFC-91A5-AC7FE1356F0C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89" creationId="{90BDBA5A-3D0E-47A3-B284-CEF26F60B1B0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0" creationId="{43C45C2E-950A-43A4-955E-B7837A1957E5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1" creationId="{4B6288E5-5141-4C33-A87C-4BEA2577B312}"/>
          </ac:spMkLst>
        </pc:spChg>
        <pc:spChg chg="add del mod">
          <ac:chgData name="zur bonsen georg" userId="5444515566c7376a" providerId="LiveId" clId="{18CD7E6B-2C8E-405B-A237-843B9FC9D457}" dt="2022-04-18T07:06:50.486" v="6196" actId="478"/>
          <ac:spMkLst>
            <pc:docMk/>
            <pc:sldMk cId="4220607238" sldId="510"/>
            <ac:spMk id="92" creationId="{C1170FD1-E248-461F-ACF3-615910D3A1F5}"/>
          </ac:spMkLst>
        </pc:spChg>
        <pc:spChg chg="add del mod">
          <ac:chgData name="zur bonsen georg" userId="5444515566c7376a" providerId="LiveId" clId="{18CD7E6B-2C8E-405B-A237-843B9FC9D457}" dt="2022-04-18T07:16:44.854" v="6422" actId="478"/>
          <ac:spMkLst>
            <pc:docMk/>
            <pc:sldMk cId="4220607238" sldId="510"/>
            <ac:spMk id="93" creationId="{65F549A5-29AA-4FE2-8B85-6829F1670962}"/>
          </ac:spMkLst>
        </pc:spChg>
        <pc:spChg chg="add del mod">
          <ac:chgData name="zur bonsen georg" userId="5444515566c7376a" providerId="LiveId" clId="{18CD7E6B-2C8E-405B-A237-843B9FC9D457}" dt="2022-04-18T07:06:49.093" v="6195" actId="478"/>
          <ac:spMkLst>
            <pc:docMk/>
            <pc:sldMk cId="4220607238" sldId="510"/>
            <ac:spMk id="94" creationId="{9E99C6BC-24D4-461B-8B0A-7719C7DE6D5F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5" creationId="{1876A4DD-C6B9-4911-95AE-A1BDFC478F6E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96" creationId="{24A7322F-FDF6-41F4-A1B5-4739450DDE81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7" creationId="{4FA8C883-FC7E-4903-8C53-43AF5E6B216A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8" creationId="{CD73203E-F856-4AB1-BD01-006A1C4DA755}"/>
          </ac:spMkLst>
        </pc:spChg>
        <pc:spChg chg="add del mod">
          <ac:chgData name="zur bonsen georg" userId="5444515566c7376a" providerId="LiveId" clId="{18CD7E6B-2C8E-405B-A237-843B9FC9D457}" dt="2022-04-18T07:06:49.093" v="6195" actId="478"/>
          <ac:spMkLst>
            <pc:docMk/>
            <pc:sldMk cId="4220607238" sldId="510"/>
            <ac:spMk id="99" creationId="{5FE28197-D84C-4C3E-A605-37D65EC34E4F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00" creationId="{D9E524F6-DEDE-40A9-AAC7-E7013ED2F6F9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01" creationId="{B97C9082-A171-4F93-89EE-C286EE6C509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02" creationId="{609712B9-1A6D-42B9-8683-72AA648F7FCE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03" creationId="{EAEFE983-4976-4C8B-88F0-B563C8E71F08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04" creationId="{BDBFE104-73F4-4BA9-A3EF-E0F1D3D78B3B}"/>
          </ac:spMkLst>
        </pc:spChg>
        <pc:spChg chg="add del mod">
          <ac:chgData name="zur bonsen georg" userId="5444515566c7376a" providerId="LiveId" clId="{18CD7E6B-2C8E-405B-A237-843B9FC9D457}" dt="2022-04-18T07:17:03.249" v="6428" actId="478"/>
          <ac:spMkLst>
            <pc:docMk/>
            <pc:sldMk cId="4220607238" sldId="510"/>
            <ac:spMk id="105" creationId="{D980BB7D-C63A-4AA1-926A-758DE8EF4EDA}"/>
          </ac:spMkLst>
        </pc:spChg>
        <pc:spChg chg="add del mod">
          <ac:chgData name="zur bonsen georg" userId="5444515566c7376a" providerId="LiveId" clId="{18CD7E6B-2C8E-405B-A237-843B9FC9D457}" dt="2022-04-18T07:06:47.356" v="6194" actId="478"/>
          <ac:spMkLst>
            <pc:docMk/>
            <pc:sldMk cId="4220607238" sldId="510"/>
            <ac:spMk id="106" creationId="{7C2A1977-1665-4FEE-9001-A70CEB5AC834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107" creationId="{F826416E-AB9E-4F96-BB8D-2C93727FE696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08" creationId="{9E0E2376-6D13-4DDE-9364-CF47A8A51392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09" creationId="{D74EEDAB-9C7B-497C-9AE9-2B40C560D2FF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10" creationId="{CB9C0CD7-0523-4FC2-BAC1-403F4784D435}"/>
          </ac:spMkLst>
        </pc:spChg>
        <pc:spChg chg="del">
          <ac:chgData name="zur bonsen georg" userId="5444515566c7376a" providerId="LiveId" clId="{18CD7E6B-2C8E-405B-A237-843B9FC9D457}" dt="2022-04-18T07:05:32.489" v="6181" actId="478"/>
          <ac:spMkLst>
            <pc:docMk/>
            <pc:sldMk cId="4220607238" sldId="510"/>
            <ac:spMk id="111" creationId="{46C68534-E818-4A52-BF2A-9F97522765A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2" creationId="{1653CB6D-C51F-4D27-A010-85080B6CF3C8}"/>
          </ac:spMkLst>
        </pc:spChg>
        <pc:spChg chg="add del mod">
          <ac:chgData name="zur bonsen georg" userId="5444515566c7376a" providerId="LiveId" clId="{18CD7E6B-2C8E-405B-A237-843B9FC9D457}" dt="2022-04-18T07:06:47.356" v="6194" actId="478"/>
          <ac:spMkLst>
            <pc:docMk/>
            <pc:sldMk cId="4220607238" sldId="510"/>
            <ac:spMk id="113" creationId="{F8439C68-5574-4D5B-A35E-187CC2665D55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14" creationId="{E7DAEEE5-58B8-4FD7-8420-93B4F4EB60D4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5" creationId="{6EEB48F0-9767-4B6E-8752-5D32AC4B5587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6" creationId="{D69C167F-671D-4562-AFB3-E29E0EC84331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7" creationId="{C4D49D88-C573-4F51-B773-846CE4C78E56}"/>
          </ac:spMkLst>
        </pc:spChg>
        <pc:spChg chg="add del mod">
          <ac:chgData name="zur bonsen georg" userId="5444515566c7376a" providerId="LiveId" clId="{18CD7E6B-2C8E-405B-A237-843B9FC9D457}" dt="2022-04-18T07:06:45.415" v="6193" actId="478"/>
          <ac:spMkLst>
            <pc:docMk/>
            <pc:sldMk cId="4220607238" sldId="510"/>
            <ac:spMk id="118" creationId="{CAA323EA-BDB7-4A44-9CE4-288731FFFDC9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9" creationId="{41F5A948-DB75-479F-B47B-7F08A21026E6}"/>
          </ac:spMkLst>
        </pc:spChg>
        <pc:spChg chg="add del mod">
          <ac:chgData name="zur bonsen georg" userId="5444515566c7376a" providerId="LiveId" clId="{18CD7E6B-2C8E-405B-A237-843B9FC9D457}" dt="2022-04-18T07:06:45.415" v="6193" actId="478"/>
          <ac:spMkLst>
            <pc:docMk/>
            <pc:sldMk cId="4220607238" sldId="510"/>
            <ac:spMk id="120" creationId="{2923AF21-FF94-4710-9E27-526AFF1A13C2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21" creationId="{ACC0399D-17F5-4015-863B-0EC1D5A2291E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122" creationId="{E21C2135-4099-490D-B8F0-B1CF2F71C05B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123" creationId="{16F5CE86-CF18-47F5-8E97-AA127F11F262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24" creationId="{E519EE81-7A6D-4DAA-A59A-BD5F0E2DD9A9}"/>
          </ac:spMkLst>
        </pc:spChg>
        <pc:spChg chg="add del mod">
          <ac:chgData name="zur bonsen georg" userId="5444515566c7376a" providerId="LiveId" clId="{18CD7E6B-2C8E-405B-A237-843B9FC9D457}" dt="2022-04-18T07:07:01.046" v="6199" actId="478"/>
          <ac:spMkLst>
            <pc:docMk/>
            <pc:sldMk cId="4220607238" sldId="510"/>
            <ac:spMk id="125" creationId="{69028DA1-4D25-44E3-A4CD-1A73E2189D53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26" creationId="{CF876EC3-C55E-4ADE-B4B5-52D24FD7AA60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27" creationId="{33A81002-1FF0-4733-B8F7-25028A642E1B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28" creationId="{28845DD6-129C-49B1-B1FD-BB207A1F423F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29" creationId="{8226D38C-ACD0-4900-8D11-5826098E043D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130" creationId="{63D1935B-2F88-4B27-A250-B7A19EB0DD0E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31" creationId="{E468455B-7FD0-4EFE-B29D-9815F3D10ADD}"/>
          </ac:spMkLst>
        </pc:spChg>
        <pc:spChg chg="add del mod">
          <ac:chgData name="zur bonsen georg" userId="5444515566c7376a" providerId="LiveId" clId="{18CD7E6B-2C8E-405B-A237-843B9FC9D457}" dt="2022-04-18T07:07:01.046" v="6199" actId="478"/>
          <ac:spMkLst>
            <pc:docMk/>
            <pc:sldMk cId="4220607238" sldId="510"/>
            <ac:spMk id="132" creationId="{8A09FF53-FA88-45DC-99D4-C702C595A73C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33" creationId="{0B1399AF-F161-4DD7-A309-E7CA5227DC94}"/>
          </ac:spMkLst>
        </pc:spChg>
        <pc:spChg chg="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34" creationId="{592D29B2-9FA3-4252-B0FC-8834EE654D8F}"/>
          </ac:spMkLst>
        </pc:spChg>
        <pc:spChg chg="add del mod">
          <ac:chgData name="zur bonsen georg" userId="5444515566c7376a" providerId="LiveId" clId="{18CD7E6B-2C8E-405B-A237-843B9FC9D457}" dt="2022-04-18T07:06:53.333" v="6198" actId="478"/>
          <ac:spMkLst>
            <pc:docMk/>
            <pc:sldMk cId="4220607238" sldId="510"/>
            <ac:spMk id="135" creationId="{07F09A49-E77C-4FAE-85F7-45E32DA44F46}"/>
          </ac:spMkLst>
        </pc:spChg>
        <pc:spChg chg="add del mod">
          <ac:chgData name="zur bonsen georg" userId="5444515566c7376a" providerId="LiveId" clId="{18CD7E6B-2C8E-405B-A237-843B9FC9D457}" dt="2022-04-18T07:06:52.004" v="6197" actId="478"/>
          <ac:spMkLst>
            <pc:docMk/>
            <pc:sldMk cId="4220607238" sldId="510"/>
            <ac:spMk id="136" creationId="{D056833B-0C90-43BC-A4DC-2E9B44D7F6F1}"/>
          </ac:spMkLst>
        </pc:spChg>
        <pc:spChg chg="add del mod">
          <ac:chgData name="zur bonsen georg" userId="5444515566c7376a" providerId="LiveId" clId="{18CD7E6B-2C8E-405B-A237-843B9FC9D457}" dt="2022-04-18T07:06:50.486" v="6196" actId="478"/>
          <ac:spMkLst>
            <pc:docMk/>
            <pc:sldMk cId="4220607238" sldId="510"/>
            <ac:spMk id="137" creationId="{36FC4D0C-B232-4898-9BDD-6DAB3D8440EA}"/>
          </ac:spMkLst>
        </pc:spChg>
        <pc:spChg chg="add del mod">
          <ac:chgData name="zur bonsen georg" userId="5444515566c7376a" providerId="LiveId" clId="{18CD7E6B-2C8E-405B-A237-843B9FC9D457}" dt="2022-04-18T07:06:49.093" v="6195" actId="478"/>
          <ac:spMkLst>
            <pc:docMk/>
            <pc:sldMk cId="4220607238" sldId="510"/>
            <ac:spMk id="138" creationId="{AA706DB2-1148-48B5-A559-D0C02ADAA5A2}"/>
          </ac:spMkLst>
        </pc:spChg>
        <pc:spChg chg="add del mod">
          <ac:chgData name="zur bonsen georg" userId="5444515566c7376a" providerId="LiveId" clId="{18CD7E6B-2C8E-405B-A237-843B9FC9D457}" dt="2022-04-18T07:06:47.356" v="6194" actId="478"/>
          <ac:spMkLst>
            <pc:docMk/>
            <pc:sldMk cId="4220607238" sldId="510"/>
            <ac:spMk id="139" creationId="{9E69848F-7CC2-4C19-AB46-15281C24AF5E}"/>
          </ac:spMkLst>
        </pc:spChg>
        <pc:spChg chg="add del mod">
          <ac:chgData name="zur bonsen georg" userId="5444515566c7376a" providerId="LiveId" clId="{18CD7E6B-2C8E-405B-A237-843B9FC9D457}" dt="2022-04-18T07:06:45.415" v="6193" actId="478"/>
          <ac:spMkLst>
            <pc:docMk/>
            <pc:sldMk cId="4220607238" sldId="510"/>
            <ac:spMk id="140" creationId="{ED4B7F27-8BD4-4BCB-9D43-0D22F3A1F4E4}"/>
          </ac:spMkLst>
        </pc:spChg>
        <pc:spChg chg="add del mod">
          <ac:chgData name="zur bonsen georg" userId="5444515566c7376a" providerId="LiveId" clId="{18CD7E6B-2C8E-405B-A237-843B9FC9D457}" dt="2022-04-18T07:06:42.419" v="6192" actId="478"/>
          <ac:spMkLst>
            <pc:docMk/>
            <pc:sldMk cId="4220607238" sldId="510"/>
            <ac:spMk id="141" creationId="{6781BCA1-0C6B-4527-A529-491310521B21}"/>
          </ac:spMkLst>
        </pc:spChg>
        <pc:spChg chg="add del mod">
          <ac:chgData name="zur bonsen georg" userId="5444515566c7376a" providerId="LiveId" clId="{18CD7E6B-2C8E-405B-A237-843B9FC9D457}" dt="2022-04-18T07:06:42.419" v="6192" actId="478"/>
          <ac:spMkLst>
            <pc:docMk/>
            <pc:sldMk cId="4220607238" sldId="510"/>
            <ac:spMk id="142" creationId="{9F88BDD0-8CD6-4169-96B4-04DEB6DD682D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3" creationId="{25AE7D99-2ECE-4CF7-AC9C-64D48A8CD391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4" creationId="{38E97B82-590C-4257-BA08-248A285B1259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5" creationId="{FF7DBF71-41BE-422E-88B9-3E9C4C32E7A7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6" creationId="{C54D2A64-8B0C-4D5A-8F76-400072AA8A70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7" creationId="{4A590ED2-4F28-4F12-9219-141058A408B6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8" creationId="{916E3F56-5FDE-492E-9759-6DDD51AA26E7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9" creationId="{AA52CD07-AC5E-4DE0-BDF3-7C75E5B06523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50" creationId="{DFD6C420-5B70-4309-AB11-A0D2300E5D93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51" creationId="{1FB47A4D-DECF-4B8F-863E-4FD49151F8F6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52" creationId="{AD77F57C-9A3D-4D68-8F3F-4CCD2E35CDE7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53" creationId="{F7E0BFDE-6772-4367-97FF-A559B5B90792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54" creationId="{4F57BDB7-B198-4BE9-96AD-7428DD5990A6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55" creationId="{C042B73F-AAED-40DF-9747-122F64E4EAEC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56" creationId="{8493E1A5-8B26-43CE-A1E6-61FD2E483E6D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57" creationId="{2D0FCB26-230E-4691-B54D-B72743856595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58" creationId="{9C13A307-FF7C-4BE6-805F-1FDAC9C8408E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59" creationId="{7CEDB247-21EE-4DA9-8F76-88C1B43D3DF9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0" creationId="{DC303F1B-6CB6-499B-A53D-404771516221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1" creationId="{2E1C3BCF-1A07-4EA1-A416-8A223289A649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2" creationId="{7CA23823-B9CB-4626-8BA0-C6D268A4D096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3" creationId="{29C8BEB1-1888-484C-A7D3-85D07CCE4D85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4" creationId="{FCFCFECF-2E05-4835-8E54-3DA7DA413999}"/>
          </ac:spMkLst>
        </pc:spChg>
        <pc:spChg chg="del">
          <ac:chgData name="zur bonsen georg" userId="5444515566c7376a" providerId="LiveId" clId="{18CD7E6B-2C8E-405B-A237-843B9FC9D457}" dt="2022-04-18T07:05:31.464" v="6180" actId="478"/>
          <ac:spMkLst>
            <pc:docMk/>
            <pc:sldMk cId="4220607238" sldId="510"/>
            <ac:spMk id="179" creationId="{38AF722D-27F3-4D5F-B4E0-D6786BD9D459}"/>
          </ac:spMkLst>
        </pc:spChg>
      </pc:sldChg>
      <pc:sldChg chg="delSp modSp add del mod ord">
        <pc:chgData name="zur bonsen georg" userId="5444515566c7376a" providerId="LiveId" clId="{18CD7E6B-2C8E-405B-A237-843B9FC9D457}" dt="2022-04-18T07:17:09.448" v="6430" actId="47"/>
        <pc:sldMkLst>
          <pc:docMk/>
          <pc:sldMk cId="2121871362" sldId="511"/>
        </pc:sldMkLst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3" creationId="{86FE369B-291F-45A8-89B4-64E68138EEA5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4" creationId="{1046A89F-E586-4B65-833B-B056A52959D5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58" creationId="{CF38DBF6-E01B-4242-A748-F1DD224310A9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59" creationId="{A3E37A0D-8076-49F4-8572-03F0DDCCBFFD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60" creationId="{627A3F0B-E211-4C6D-9CCB-87FB3BAAB604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61" creationId="{DD88F335-FBDF-49D2-8BF9-70FB2FF3E851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62" creationId="{C0E67101-3987-4810-B614-291DAAE4A47F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63" creationId="{59D6DF6A-90B4-4CE3-AF8D-19DBC262DF35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64" creationId="{FA6A6686-7669-4E63-8D4C-551D23F14592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65" creationId="{F024CBB8-422C-44F4-B717-C9DEC68FB0FF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66" creationId="{D7C282CA-03E0-432E-90D2-46A21ADDEB6B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67" creationId="{6E8CDEE8-8744-46BF-ADBE-5DBFE1910F6C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68" creationId="{24EADCBD-36BA-455B-9DA5-C3EA6132198B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69" creationId="{7D2C2B39-C74C-421A-972B-4BBF9B6796F3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0" creationId="{9B2BE8EB-3FF3-4D8B-98EB-75AE6CE91B7F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1" creationId="{E699835E-791E-4EE6-90C5-4F747C440860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2" creationId="{3297C2DF-28DE-418C-8B2F-3AA00F6A167D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3" creationId="{27ECAD0F-6088-4E3F-A5C6-0A315AC6440A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4" creationId="{6650F46B-68FE-467B-A67C-65354DE5EFC8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5" creationId="{A1501889-DF3B-413D-8BF2-F9085FFD27A9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6" creationId="{C161AAA1-F453-49C0-8095-E72264352C0E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7" creationId="{A45AF967-822E-4103-852D-168CE2E5153B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8" creationId="{B673E06C-21EA-4533-B3C6-26AF672E1587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9" creationId="{8B13D5CF-57EF-457A-9962-ED8814EA3851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0" creationId="{C77BE7FB-FA68-43E1-986A-F243BFD806BC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1" creationId="{25AB34E7-371E-4C85-B4D8-731F3244EE03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82" creationId="{59333C49-EEF4-42B0-B836-D98635744F30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83" creationId="{0E737970-3BB7-4F25-A1A5-E5C098B4173F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84" creationId="{0A29EE43-C5C1-49C3-8B93-8F98C3752FAD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5" creationId="{F8883378-1B0D-4E32-BBF2-A3D8BBD4621E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6" creationId="{BDF35AB9-BEB8-426F-91C3-EE70A8B8E5A7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7" creationId="{5F811C55-C066-4D33-A253-5A901D75DDEC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8" creationId="{654BC8F4-365C-4AFC-91A5-AC7FE1356F0C}"/>
          </ac:spMkLst>
        </pc:spChg>
        <pc:spChg chg="del mod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89" creationId="{90BDBA5A-3D0E-47A3-B284-CEF26F60B1B0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0" creationId="{43C45C2E-950A-43A4-955E-B7837A1957E5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1" creationId="{4B6288E5-5141-4C33-A87C-4BEA2577B312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92" creationId="{BA6A8E4F-1865-4810-A934-CD116C5824BA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93" creationId="{A476589A-6C67-4F8A-AE6D-615DC4F051EC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94" creationId="{1BB1B783-4484-4165-9430-B1231B5014CB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5" creationId="{1876A4DD-C6B9-4911-95AE-A1BDFC478F6E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96" creationId="{24A7322F-FDF6-41F4-A1B5-4739450DDE81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7" creationId="{4FA8C883-FC7E-4903-8C53-43AF5E6B216A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8" creationId="{CD73203E-F856-4AB1-BD01-006A1C4DA755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99" creationId="{63821C04-B5CE-459C-960A-ED4732838BA7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00" creationId="{D9E524F6-DEDE-40A9-AAC7-E7013ED2F6F9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01" creationId="{B97C9082-A171-4F93-89EE-C286EE6C509C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02" creationId="{609712B9-1A6D-42B9-8683-72AA648F7FCE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03" creationId="{EAEFE983-4976-4C8B-88F0-B563C8E71F08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04" creationId="{BDBFE104-73F4-4BA9-A3EF-E0F1D3D78B3B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05" creationId="{F28A269B-76D8-4873-9D9D-A79FDFF241FF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06" creationId="{166950B1-E093-4961-B59D-C5F05AF142CB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107" creationId="{F826416E-AB9E-4F96-BB8D-2C93727FE696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08" creationId="{9E0E2376-6D13-4DDE-9364-CF47A8A51392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09" creationId="{D74EEDAB-9C7B-497C-9AE9-2B40C560D2FF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10" creationId="{CB9C0CD7-0523-4FC2-BAC1-403F4784D435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2" creationId="{1653CB6D-C51F-4D27-A010-85080B6CF3C8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13" creationId="{57D5BD9F-710E-4BC3-9894-29D6A8D5486D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14" creationId="{35B34DBC-2418-449F-958F-A4ADDF9776D2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5" creationId="{6EEB48F0-9767-4B6E-8752-5D32AC4B5587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6" creationId="{D69C167F-671D-4562-AFB3-E29E0EC84331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7" creationId="{C4D49D88-C573-4F51-B773-846CE4C78E56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18" creationId="{436A7008-A71A-4BA3-B6BE-18362D665872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9" creationId="{41F5A948-DB75-479F-B47B-7F08A21026E6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0" creationId="{FA165834-DA54-43B3-9DE7-12A3300B254C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21" creationId="{ACC0399D-17F5-4015-863B-0EC1D5A2291E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122" creationId="{E21C2135-4099-490D-B8F0-B1CF2F71C05B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123" creationId="{16F5CE86-CF18-47F5-8E97-AA127F11F262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4" creationId="{AE476042-D2FE-410B-ADCF-D517E8FEC1EE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5" creationId="{15CA060F-5837-4D31-80B7-D15909EC2C11}"/>
          </ac:spMkLst>
        </pc:spChg>
        <pc:spChg chg="del mod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26" creationId="{CF876EC3-C55E-4ADE-B4B5-52D24FD7AA60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7" creationId="{E33C57B2-19D7-4AE0-ADD2-A379C573CEA6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28" creationId="{28845DD6-129C-49B1-B1FD-BB207A1F423F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9" creationId="{1CD42276-D8A7-4AAE-99A8-007847383A36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130" creationId="{63D1935B-2F88-4B27-A250-B7A19EB0DD0E}"/>
          </ac:spMkLst>
        </pc:spChg>
        <pc:spChg chg="del mod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31" creationId="{E468455B-7FD0-4EFE-B29D-9815F3D10ADD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2" creationId="{E4870832-4308-480A-A3F7-2639467AD9BA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3" creationId="{55C3F75F-EA66-4454-A641-C7890DE1A725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4" creationId="{3A916003-D483-4DC0-BE22-18A6862DE5E2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5" creationId="{456990E0-6F46-457F-985A-A1155474A517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6" creationId="{2F458AD8-84F0-432C-8208-696FD05454A3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7" creationId="{180F3513-B43C-4F4C-B3C8-D498C06E3452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8" creationId="{0CE766B9-B0DE-4EC2-ADAD-34C56316F956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9" creationId="{33EBF292-A896-4C28-8545-137607D91B84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40" creationId="{60828C8C-F2F1-4AB6-8EEF-58D911577CFE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41" creationId="{9F930BFE-AACB-4FF7-831A-45FA0D44A2B5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42" creationId="{7F9869AA-4453-42AC-8B27-FC735AE12EF6}"/>
          </ac:spMkLst>
        </pc:spChg>
      </pc:sldChg>
      <pc:sldChg chg="addSp delSp modSp add mod ord">
        <pc:chgData name="zur bonsen georg" userId="5444515566c7376a" providerId="LiveId" clId="{18CD7E6B-2C8E-405B-A237-843B9FC9D457}" dt="2022-04-24T09:05:55.246" v="9840" actId="20577"/>
        <pc:sldMkLst>
          <pc:docMk/>
          <pc:sldMk cId="2757764999" sldId="512"/>
        </pc:sldMkLst>
        <pc:spChg chg="mod">
          <ac:chgData name="zur bonsen georg" userId="5444515566c7376a" providerId="LiveId" clId="{18CD7E6B-2C8E-405B-A237-843B9FC9D457}" dt="2022-04-24T09:05:55.246" v="9840" actId="20577"/>
          <ac:spMkLst>
            <pc:docMk/>
            <pc:sldMk cId="2757764999" sldId="512"/>
            <ac:spMk id="2" creationId="{00000000-0000-0000-0000-000000000000}"/>
          </ac:spMkLst>
        </pc:spChg>
        <pc:spChg chg="del mod">
          <ac:chgData name="zur bonsen georg" userId="5444515566c7376a" providerId="LiveId" clId="{18CD7E6B-2C8E-405B-A237-843B9FC9D457}" dt="2022-04-18T07:35:57.714" v="6915" actId="478"/>
          <ac:spMkLst>
            <pc:docMk/>
            <pc:sldMk cId="2757764999" sldId="512"/>
            <ac:spMk id="3" creationId="{86FE369B-291F-45A8-89B4-64E68138EEA5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4" creationId="{1046A89F-E586-4B65-833B-B056A52959D5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58" creationId="{E50990EA-EDBD-44C2-A1C9-466ED8B1F00A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59" creationId="{7ACD7D9C-0C85-4147-AF12-031603C2F2BF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0" creationId="{40BAE191-3136-45FE-B517-34A86D34CB92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1" creationId="{CD145C06-E09C-463F-B390-D48FB9684BB2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2" creationId="{7301D8F5-AA49-468A-9CEC-1B5B26F2E790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3" creationId="{59D6DF6A-90B4-4CE3-AF8D-19DBC262DF35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4" creationId="{FA6A6686-7669-4E63-8D4C-551D23F14592}"/>
          </ac:spMkLst>
        </pc:spChg>
        <pc:spChg chg="del mod">
          <ac:chgData name="zur bonsen georg" userId="5444515566c7376a" providerId="LiveId" clId="{18CD7E6B-2C8E-405B-A237-843B9FC9D457}" dt="2022-04-18T07:30:14.659" v="6598" actId="478"/>
          <ac:spMkLst>
            <pc:docMk/>
            <pc:sldMk cId="2757764999" sldId="512"/>
            <ac:spMk id="65" creationId="{F024CBB8-422C-44F4-B717-C9DEC68FB0FF}"/>
          </ac:spMkLst>
        </pc:spChg>
        <pc:spChg chg="mod ord">
          <ac:chgData name="zur bonsen georg" userId="5444515566c7376a" providerId="LiveId" clId="{18CD7E6B-2C8E-405B-A237-843B9FC9D457}" dt="2022-04-23T07:29:11.024" v="9627" actId="20577"/>
          <ac:spMkLst>
            <pc:docMk/>
            <pc:sldMk cId="2757764999" sldId="512"/>
            <ac:spMk id="66" creationId="{D7C282CA-03E0-432E-90D2-46A21ADDEB6B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7" creationId="{6E8CDEE8-8744-46BF-ADBE-5DBFE1910F6C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8" creationId="{24EADCBD-36BA-455B-9DA5-C3EA6132198B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9" creationId="{7D2C2B39-C74C-421A-972B-4BBF9B6796F3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0" creationId="{9B2BE8EB-3FF3-4D8B-98EB-75AE6CE91B7F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1" creationId="{E699835E-791E-4EE6-90C5-4F747C440860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2" creationId="{3297C2DF-28DE-418C-8B2F-3AA00F6A167D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3" creationId="{27ECAD0F-6088-4E3F-A5C6-0A315AC6440A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4" creationId="{6650F46B-68FE-467B-A67C-65354DE5EFC8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5" creationId="{A1501889-DF3B-413D-8BF2-F9085FFD27A9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6" creationId="{C161AAA1-F453-49C0-8095-E72264352C0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7" creationId="{A45AF967-822E-4103-852D-168CE2E5153B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8" creationId="{B673E06C-21EA-4533-B3C6-26AF672E1587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9" creationId="{8B13D5CF-57EF-457A-9962-ED8814EA3851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0" creationId="{C77BE7FB-FA68-43E1-986A-F243BFD806BC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1" creationId="{25AB34E7-371E-4C85-B4D8-731F3244EE03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2" creationId="{1FC4342C-1269-43DA-AC5E-B329F1629E75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5" creationId="{F8883378-1B0D-4E32-BBF2-A3D8BBD4621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6" creationId="{BDF35AB9-BEB8-426F-91C3-EE70A8B8E5A7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7" creationId="{5F811C55-C066-4D33-A253-5A901D75DDEC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8" creationId="{654BC8F4-365C-4AFC-91A5-AC7FE1356F0C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9" creationId="{90BDBA5A-3D0E-47A3-B284-CEF26F60B1B0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0" creationId="{43C45C2E-950A-43A4-955E-B7837A1957E5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1" creationId="{4B6288E5-5141-4C33-A87C-4BEA2577B312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2" creationId="{35491E2C-336A-455A-844B-E7F6A785097D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3" creationId="{D568A228-18DC-4D4F-AE7F-18EF2142D8FC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4" creationId="{A34DCA84-5437-4953-A41F-7D1F8BBEDDA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5" creationId="{1876A4DD-C6B9-4911-95AE-A1BDFC478F6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6" creationId="{24A7322F-FDF6-41F4-A1B5-4739450DDE81}"/>
          </ac:spMkLst>
        </pc:spChg>
        <pc:spChg chg="del mod">
          <ac:chgData name="zur bonsen georg" userId="5444515566c7376a" providerId="LiveId" clId="{18CD7E6B-2C8E-405B-A237-843B9FC9D457}" dt="2022-04-24T09:02:54.223" v="9693" actId="478"/>
          <ac:spMkLst>
            <pc:docMk/>
            <pc:sldMk cId="2757764999" sldId="512"/>
            <ac:spMk id="97" creationId="{4FA8C883-FC7E-4903-8C53-43AF5E6B216A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98" creationId="{CD73203E-F856-4AB1-BD01-006A1C4DA755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9" creationId="{A698C1F8-199C-4FB3-BB50-DDCB9059E9DE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00" creationId="{D9E524F6-DEDE-40A9-AAC7-E7013ED2F6F9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01" creationId="{B97C9082-A171-4F93-89EE-C286EE6C509C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02" creationId="{609712B9-1A6D-42B9-8683-72AA648F7FCE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03" creationId="{EAEFE983-4976-4C8B-88F0-B563C8E71F08}"/>
          </ac:spMkLst>
        </pc:spChg>
        <pc:spChg chg="del mod ord">
          <ac:chgData name="zur bonsen georg" userId="5444515566c7376a" providerId="LiveId" clId="{18CD7E6B-2C8E-405B-A237-843B9FC9D457}" dt="2022-04-24T09:02:56.014" v="9694" actId="478"/>
          <ac:spMkLst>
            <pc:docMk/>
            <pc:sldMk cId="2757764999" sldId="512"/>
            <ac:spMk id="104" creationId="{BDBFE104-73F4-4BA9-A3EF-E0F1D3D78B3B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05" creationId="{8E8E6FDA-300F-460E-8FEC-6E3085517C9B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06" creationId="{BB504CEA-D9B8-4E12-8D94-D86CD7632D65}"/>
          </ac:spMkLst>
        </pc:spChg>
        <pc:spChg chg="add mod">
          <ac:chgData name="zur bonsen georg" userId="5444515566c7376a" providerId="LiveId" clId="{18CD7E6B-2C8E-405B-A237-843B9FC9D457}" dt="2022-04-24T09:03:08.895" v="9698" actId="207"/>
          <ac:spMkLst>
            <pc:docMk/>
            <pc:sldMk cId="2757764999" sldId="512"/>
            <ac:spMk id="107" creationId="{0DDE6D13-B62D-4CEB-8A20-F43F2EEB41CF}"/>
          </ac:spMkLst>
        </pc:spChg>
        <pc:spChg chg="add del mod">
          <ac:chgData name="zur bonsen georg" userId="5444515566c7376a" providerId="LiveId" clId="{18CD7E6B-2C8E-405B-A237-843B9FC9D457}" dt="2022-04-23T07:28:57.274" v="9615" actId="478"/>
          <ac:spMkLst>
            <pc:docMk/>
            <pc:sldMk cId="2757764999" sldId="512"/>
            <ac:spMk id="107" creationId="{C73711D5-FF61-4BA2-8853-F499F81336A3}"/>
          </ac:spMkLst>
        </pc:spChg>
        <pc:spChg chg="del mod">
          <ac:chgData name="zur bonsen georg" userId="5444515566c7376a" providerId="LiveId" clId="{18CD7E6B-2C8E-405B-A237-843B9FC9D457}" dt="2022-04-18T07:29:24.825" v="6581" actId="478"/>
          <ac:spMkLst>
            <pc:docMk/>
            <pc:sldMk cId="2757764999" sldId="512"/>
            <ac:spMk id="107" creationId="{F826416E-AB9E-4F96-BB8D-2C93727FE696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08" creationId="{9E0E2376-6D13-4DDE-9364-CF47A8A51392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09" creationId="{D74EEDAB-9C7B-497C-9AE9-2B40C560D2FF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10" creationId="{CB9C0CD7-0523-4FC2-BAC1-403F4784D435}"/>
          </ac:spMkLst>
        </pc:spChg>
        <pc:spChg chg="del mod">
          <ac:chgData name="zur bonsen georg" userId="5444515566c7376a" providerId="LiveId" clId="{18CD7E6B-2C8E-405B-A237-843B9FC9D457}" dt="2022-04-18T07:28:31.227" v="6566" actId="478"/>
          <ac:spMkLst>
            <pc:docMk/>
            <pc:sldMk cId="2757764999" sldId="512"/>
            <ac:spMk id="111" creationId="{46C68534-E818-4A52-BF2A-9F97522765AC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11" creationId="{A86F7565-72CC-4699-85A8-101E8531EA50}"/>
          </ac:spMkLst>
        </pc:spChg>
        <pc:spChg chg="add del mod">
          <ac:chgData name="zur bonsen georg" userId="5444515566c7376a" providerId="LiveId" clId="{18CD7E6B-2C8E-405B-A237-843B9FC9D457}" dt="2022-04-23T07:28:57.274" v="9615" actId="478"/>
          <ac:spMkLst>
            <pc:docMk/>
            <pc:sldMk cId="2757764999" sldId="512"/>
            <ac:spMk id="111" creationId="{FA7935A8-B660-4479-B3C9-74804DEAE252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12" creationId="{1653CB6D-C51F-4D27-A010-85080B6CF3C8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13" creationId="{676EFBA8-330D-49EE-A600-C5EE81C07661}"/>
          </ac:spMkLst>
        </pc:spChg>
        <pc:spChg chg="add mod ord">
          <ac:chgData name="zur bonsen georg" userId="5444515566c7376a" providerId="LiveId" clId="{18CD7E6B-2C8E-405B-A237-843B9FC9D457}" dt="2022-04-24T09:03:08.895" v="9698" actId="207"/>
          <ac:spMkLst>
            <pc:docMk/>
            <pc:sldMk cId="2757764999" sldId="512"/>
            <ac:spMk id="114" creationId="{3DA04AD8-6FFA-4120-B8CB-96631CA4F6EC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15" creationId="{6EEB48F0-9767-4B6E-8752-5D32AC4B5587}"/>
          </ac:spMkLst>
        </pc:spChg>
        <pc:spChg chg="add del mod">
          <ac:chgData name="zur bonsen georg" userId="5444515566c7376a" providerId="LiveId" clId="{18CD7E6B-2C8E-405B-A237-843B9FC9D457}" dt="2022-04-23T07:28:57.274" v="9615" actId="478"/>
          <ac:spMkLst>
            <pc:docMk/>
            <pc:sldMk cId="2757764999" sldId="512"/>
            <ac:spMk id="116" creationId="{0A5E1826-56B8-43DE-A7C5-E57F77F8DD1F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16" creationId="{C286942D-6C66-4E0F-919D-41D66046381C}"/>
          </ac:spMkLst>
        </pc:spChg>
        <pc:spChg chg="del">
          <ac:chgData name="zur bonsen georg" userId="5444515566c7376a" providerId="LiveId" clId="{18CD7E6B-2C8E-405B-A237-843B9FC9D457}" dt="2022-04-18T07:27:11.183" v="6549" actId="478"/>
          <ac:spMkLst>
            <pc:docMk/>
            <pc:sldMk cId="2757764999" sldId="512"/>
            <ac:spMk id="116" creationId="{D69C167F-671D-4562-AFB3-E29E0EC84331}"/>
          </ac:spMkLst>
        </pc:spChg>
        <pc:spChg chg="add del mod">
          <ac:chgData name="zur bonsen georg" userId="5444515566c7376a" providerId="LiveId" clId="{18CD7E6B-2C8E-405B-A237-843B9FC9D457}" dt="2022-04-24T09:03:15.336" v="9699" actId="478"/>
          <ac:spMkLst>
            <pc:docMk/>
            <pc:sldMk cId="2757764999" sldId="512"/>
            <ac:spMk id="117" creationId="{96F544E8-57B1-4858-A14E-319D74AA3AF0}"/>
          </ac:spMkLst>
        </pc:spChg>
        <pc:spChg chg="del">
          <ac:chgData name="zur bonsen georg" userId="5444515566c7376a" providerId="LiveId" clId="{18CD7E6B-2C8E-405B-A237-843B9FC9D457}" dt="2022-04-18T07:27:11.183" v="6549" actId="478"/>
          <ac:spMkLst>
            <pc:docMk/>
            <pc:sldMk cId="2757764999" sldId="512"/>
            <ac:spMk id="117" creationId="{C4D49D88-C573-4F51-B773-846CE4C78E56}"/>
          </ac:spMkLst>
        </pc:spChg>
        <pc:spChg chg="add mod or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118" creationId="{D61B8508-F712-4996-95BB-E6F99C77E3AB}"/>
          </ac:spMkLst>
        </pc:spChg>
        <pc:spChg chg="del">
          <ac:chgData name="zur bonsen georg" userId="5444515566c7376a" providerId="LiveId" clId="{18CD7E6B-2C8E-405B-A237-843B9FC9D457}" dt="2022-04-18T07:27:11.183" v="6549" actId="478"/>
          <ac:spMkLst>
            <pc:docMk/>
            <pc:sldMk cId="2757764999" sldId="512"/>
            <ac:spMk id="119" creationId="{41F5A948-DB75-479F-B47B-7F08A21026E6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19" creationId="{BAE23512-A30D-47CE-BE31-5F2AB9B6AC97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20" creationId="{033DB8FE-3674-435B-9882-F31D03BE18D4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21" creationId="{ACC0399D-17F5-4015-863B-0EC1D5A2291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22" creationId="{E21C2135-4099-490D-B8F0-B1CF2F71C05B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23" creationId="{16F5CE86-CF18-47F5-8E97-AA127F11F262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24" creationId="{0C840BAC-002B-40C6-8878-25441F472C89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25" creationId="{363D5E4D-08C8-4E33-934F-BF318DC95C44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26" creationId="{CF876EC3-C55E-4ADE-B4B5-52D24FD7AA60}"/>
          </ac:spMkLst>
        </pc:spChg>
        <pc:spChg chg="add mod">
          <ac:chgData name="zur bonsen georg" userId="5444515566c7376a" providerId="LiveId" clId="{18CD7E6B-2C8E-405B-A237-843B9FC9D457}" dt="2022-04-24T09:04:07.432" v="9707" actId="208"/>
          <ac:spMkLst>
            <pc:docMk/>
            <pc:sldMk cId="2757764999" sldId="512"/>
            <ac:spMk id="127" creationId="{D9979F78-9D8F-4F8E-BA0D-59F765FB8F75}"/>
          </ac:spMkLst>
        </pc:spChg>
        <pc:spChg chg="add mod">
          <ac:chgData name="zur bonsen georg" userId="5444515566c7376a" providerId="LiveId" clId="{18CD7E6B-2C8E-405B-A237-843B9FC9D457}" dt="2022-04-24T09:04:07.432" v="9707" actId="208"/>
          <ac:spMkLst>
            <pc:docMk/>
            <pc:sldMk cId="2757764999" sldId="512"/>
            <ac:spMk id="128" creationId="{1271D7AF-D119-4097-B1ED-4423FDF22A44}"/>
          </ac:spMkLst>
        </pc:spChg>
        <pc:spChg chg="del">
          <ac:chgData name="zur bonsen georg" userId="5444515566c7376a" providerId="LiveId" clId="{18CD7E6B-2C8E-405B-A237-843B9FC9D457}" dt="2022-04-18T07:27:11.183" v="6549" actId="478"/>
          <ac:spMkLst>
            <pc:docMk/>
            <pc:sldMk cId="2757764999" sldId="512"/>
            <ac:spMk id="128" creationId="{28845DD6-129C-49B1-B1FD-BB207A1F423F}"/>
          </ac:spMkLst>
        </pc:spChg>
        <pc:spChg chg="add mod">
          <ac:chgData name="zur bonsen georg" userId="5444515566c7376a" providerId="LiveId" clId="{18CD7E6B-2C8E-405B-A237-843B9FC9D457}" dt="2022-04-24T09:04:07.432" v="9707" actId="208"/>
          <ac:spMkLst>
            <pc:docMk/>
            <pc:sldMk cId="2757764999" sldId="512"/>
            <ac:spMk id="129" creationId="{5CDD8D05-9F41-4657-B094-55ABD9693297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30" creationId="{63D1935B-2F88-4B27-A250-B7A19EB0DD0E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31" creationId="{E468455B-7FD0-4EFE-B29D-9815F3D10ADD}"/>
          </ac:spMkLst>
        </pc:spChg>
        <pc:spChg chg="add mod">
          <ac:chgData name="zur bonsen georg" userId="5444515566c7376a" providerId="LiveId" clId="{18CD7E6B-2C8E-405B-A237-843B9FC9D457}" dt="2022-04-24T09:04:07.432" v="9707" actId="208"/>
          <ac:spMkLst>
            <pc:docMk/>
            <pc:sldMk cId="2757764999" sldId="512"/>
            <ac:spMk id="132" creationId="{AA9A70C9-157F-4194-AD57-1987B407F445}"/>
          </ac:spMkLst>
        </pc:spChg>
        <pc:spChg chg="add del mod">
          <ac:chgData name="zur bonsen georg" userId="5444515566c7376a" providerId="LiveId" clId="{18CD7E6B-2C8E-405B-A237-843B9FC9D457}" dt="2022-04-24T09:05:09.333" v="9799" actId="478"/>
          <ac:spMkLst>
            <pc:docMk/>
            <pc:sldMk cId="2757764999" sldId="512"/>
            <ac:spMk id="134" creationId="{7671FBF9-6D31-4B7B-8DBF-16901EF8006C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35" creationId="{F24DA3E5-5973-49FF-8A79-B9A90F04067C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36" creationId="{4600C889-1802-4340-B071-5E04B028F417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37" creationId="{A576D672-7A0B-4E1D-BC36-462C43EFDC76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38" creationId="{F8DB258D-3F06-489A-B5E3-E1C41E396DE3}"/>
          </ac:spMkLst>
        </pc:spChg>
        <pc:spChg chg="add mod">
          <ac:chgData name="zur bonsen georg" userId="5444515566c7376a" providerId="LiveId" clId="{18CD7E6B-2C8E-405B-A237-843B9FC9D457}" dt="2022-04-24T09:05:17.842" v="9800" actId="207"/>
          <ac:spMkLst>
            <pc:docMk/>
            <pc:sldMk cId="2757764999" sldId="512"/>
            <ac:spMk id="139" creationId="{9D6921AB-BE04-44A8-9F22-6632DEDFC522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40" creationId="{BD8FC166-6C88-4ADE-9B02-F4BAB2D6133D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1" creationId="{0C455689-8CC6-4BCD-82E6-EE22DB274823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2" creationId="{241A009F-112F-491C-97B8-C17B8197E5D7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3" creationId="{3D46C609-7D6B-4ED5-9A88-A518714E0582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4" creationId="{3A63A697-DB3C-4C85-A253-5BDCDD5275AB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5" creationId="{AC6C9DEE-E469-4AB2-9BB2-8A155F3EE434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46" creationId="{BD371D1E-9C71-411E-BCE0-5A2E79B10589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47" creationId="{028F2C53-9623-4FE4-B56F-9C2AACF06E3B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48" creationId="{79FFEF9F-33A8-43A4-A83D-DAA36618F0CB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49" creationId="{3D5851DC-BE16-4B04-932F-EE6B21F6B51D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0" creationId="{039AA7C1-4FD2-4773-8B0C-39B1A52A13CF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1" creationId="{552261CC-1C51-4CA9-9F53-12315DE089AF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2" creationId="{AACA1370-E80A-4DC7-91FC-170EC7FBA719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3" creationId="{841B776D-F622-4A09-AEAB-440C9381B17B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4" creationId="{2161098B-7857-4F7D-A7E3-F427864DEA6E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55" creationId="{B4D1BC3A-400E-4B82-815C-4B33E7E9BC55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56" creationId="{B07006F1-26E7-40A1-AC3B-B3C96810D61B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57" creationId="{CD92E714-7B8F-4EF5-88EB-B439A8A77BC2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59" creationId="{C568D8DE-7121-4BB4-BA9A-9A4E5B5FC7C9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60" creationId="{6507AC1D-E746-4FE8-9648-0D281864028E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61" creationId="{43399452-9313-4637-B715-1442B4AF7759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62" creationId="{AF2ECE3F-E2E5-4468-A375-0F5C68E72E10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63" creationId="{348B4609-2A4B-4E83-9B8E-BA5E8FAC432C}"/>
          </ac:spMkLst>
        </pc:spChg>
        <pc:spChg chg="del">
          <ac:chgData name="zur bonsen georg" userId="5444515566c7376a" providerId="LiveId" clId="{18CD7E6B-2C8E-405B-A237-843B9FC9D457}" dt="2022-04-18T07:28:34.220" v="6567" actId="478"/>
          <ac:spMkLst>
            <pc:docMk/>
            <pc:sldMk cId="2757764999" sldId="512"/>
            <ac:spMk id="179" creationId="{38AF722D-27F3-4D5F-B4E0-D6786BD9D459}"/>
          </ac:spMkLst>
        </pc:spChg>
        <pc:grpChg chg="add mod">
          <ac:chgData name="zur bonsen georg" userId="5444515566c7376a" providerId="LiveId" clId="{18CD7E6B-2C8E-405B-A237-843B9FC9D457}" dt="2022-04-18T07:33:19.515" v="6753" actId="164"/>
          <ac:grpSpMkLst>
            <pc:docMk/>
            <pc:sldMk cId="2757764999" sldId="512"/>
            <ac:grpSpMk id="6" creationId="{BD10AFAA-917F-41F5-AFD6-09D915B7D3B5}"/>
          </ac:grpSpMkLst>
        </pc:grpChg>
        <pc:picChg chg="del">
          <ac:chgData name="zur bonsen georg" userId="5444515566c7376a" providerId="LiveId" clId="{18CD7E6B-2C8E-405B-A237-843B9FC9D457}" dt="2022-04-18T07:37:48.477" v="6920" actId="21"/>
          <ac:picMkLst>
            <pc:docMk/>
            <pc:sldMk cId="2757764999" sldId="512"/>
            <ac:picMk id="7" creationId="{D46F9908-C7FE-497E-9EF7-6BD77B4D91A0}"/>
          </ac:picMkLst>
        </pc:picChg>
        <pc:cxnChg chg="add del">
          <ac:chgData name="zur bonsen georg" userId="5444515566c7376a" providerId="LiveId" clId="{18CD7E6B-2C8E-405B-A237-843B9FC9D457}" dt="2022-04-24T09:03:23.341" v="9701" actId="478"/>
          <ac:cxnSpMkLst>
            <pc:docMk/>
            <pc:sldMk cId="2757764999" sldId="512"/>
            <ac:cxnSpMk id="5" creationId="{9B36332F-744B-4C50-9AD0-63DF14569AE1}"/>
          </ac:cxnSpMkLst>
        </pc:cxnChg>
        <pc:cxnChg chg="add del mod">
          <ac:chgData name="zur bonsen georg" userId="5444515566c7376a" providerId="LiveId" clId="{18CD7E6B-2C8E-405B-A237-843B9FC9D457}" dt="2022-04-24T09:02:33.812" v="9688" actId="478"/>
          <ac:cxnSpMkLst>
            <pc:docMk/>
            <pc:sldMk cId="2757764999" sldId="512"/>
            <ac:cxnSpMk id="83" creationId="{D0D91D79-99C0-4F87-924C-90F084C7D7B7}"/>
          </ac:cxnSpMkLst>
        </pc:cxnChg>
        <pc:cxnChg chg="add del mod">
          <ac:chgData name="zur bonsen georg" userId="5444515566c7376a" providerId="LiveId" clId="{18CD7E6B-2C8E-405B-A237-843B9FC9D457}" dt="2022-04-24T09:02:28.697" v="9687" actId="478"/>
          <ac:cxnSpMkLst>
            <pc:docMk/>
            <pc:sldMk cId="2757764999" sldId="512"/>
            <ac:cxnSpMk id="84" creationId="{A0CD7589-058D-4D03-B0E5-BE7A67374389}"/>
          </ac:cxnSpMkLst>
        </pc:cxnChg>
        <pc:cxnChg chg="add mod">
          <ac:chgData name="zur bonsen georg" userId="5444515566c7376a" providerId="LiveId" clId="{18CD7E6B-2C8E-405B-A237-843B9FC9D457}" dt="2022-04-24T09:04:10.595" v="9708" actId="208"/>
          <ac:cxnSpMkLst>
            <pc:docMk/>
            <pc:sldMk cId="2757764999" sldId="512"/>
            <ac:cxnSpMk id="133" creationId="{7B043BE6-9E08-4D1E-9E44-266395E42D79}"/>
          </ac:cxnSpMkLst>
        </pc:cxnChg>
        <pc:cxnChg chg="add del mod">
          <ac:chgData name="zur bonsen georg" userId="5444515566c7376a" providerId="LiveId" clId="{18CD7E6B-2C8E-405B-A237-843B9FC9D457}" dt="2022-04-24T09:05:21.381" v="9801" actId="478"/>
          <ac:cxnSpMkLst>
            <pc:docMk/>
            <pc:sldMk cId="2757764999" sldId="512"/>
            <ac:cxnSpMk id="158" creationId="{A6D5240C-F347-464E-9E41-0F8B3A15AB91}"/>
          </ac:cxnSpMkLst>
        </pc:cxnChg>
        <pc:cxnChg chg="add mod">
          <ac:chgData name="zur bonsen georg" userId="5444515566c7376a" providerId="LiveId" clId="{18CD7E6B-2C8E-405B-A237-843B9FC9D457}" dt="2022-04-24T09:05:26.329" v="9803" actId="1076"/>
          <ac:cxnSpMkLst>
            <pc:docMk/>
            <pc:sldMk cId="2757764999" sldId="512"/>
            <ac:cxnSpMk id="164" creationId="{D537A456-8EA4-4E92-855E-729C4CEDE2CC}"/>
          </ac:cxnSpMkLst>
        </pc:cxnChg>
      </pc:sldChg>
      <pc:sldChg chg="delSp modSp add del mod">
        <pc:chgData name="zur bonsen georg" userId="5444515566c7376a" providerId="LiveId" clId="{18CD7E6B-2C8E-405B-A237-843B9FC9D457}" dt="2022-04-18T13:07:06.983" v="7112" actId="47"/>
        <pc:sldMkLst>
          <pc:docMk/>
          <pc:sldMk cId="1079540429" sldId="513"/>
        </pc:sldMkLst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3" creationId="{86FE369B-291F-45A8-89B4-64E68138EEA5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4" creationId="{1046A89F-E586-4B65-833B-B056A52959D5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58" creationId="{E50990EA-EDBD-44C2-A1C9-466ED8B1F00A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59" creationId="{7ACD7D9C-0C85-4147-AF12-031603C2F2BF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0" creationId="{40BAE191-3136-45FE-B517-34A86D34CB92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1" creationId="{CD145C06-E09C-463F-B390-D48FB9684BB2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2" creationId="{7301D8F5-AA49-468A-9CEC-1B5B26F2E790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63" creationId="{59D6DF6A-90B4-4CE3-AF8D-19DBC262DF35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64" creationId="{FA6A6686-7669-4E63-8D4C-551D23F14592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65" creationId="{7455EE55-F216-42E1-8B2D-ECC50709C7FA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66" creationId="{D7C282CA-03E0-432E-90D2-46A21ADDEB6B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67" creationId="{6E8CDEE8-8744-46BF-ADBE-5DBFE1910F6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8" creationId="{24EADCBD-36BA-455B-9DA5-C3EA6132198B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9" creationId="{7D2C2B39-C74C-421A-972B-4BBF9B6796F3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0" creationId="{9B2BE8EB-3FF3-4D8B-98EB-75AE6CE91B7F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1" creationId="{E699835E-791E-4EE6-90C5-4F747C440860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2" creationId="{3297C2DF-28DE-418C-8B2F-3AA00F6A167D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3" creationId="{27ECAD0F-6088-4E3F-A5C6-0A315AC6440A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4" creationId="{6650F46B-68FE-467B-A67C-65354DE5EFC8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5" creationId="{A1501889-DF3B-413D-8BF2-F9085FFD27A9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6" creationId="{C161AAA1-F453-49C0-8095-E72264352C0E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7" creationId="{A45AF967-822E-4103-852D-168CE2E5153B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8" creationId="{B673E06C-21EA-4533-B3C6-26AF672E1587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9" creationId="{8B13D5CF-57EF-457A-9962-ED8814EA3851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0" creationId="{C77BE7FB-FA68-43E1-986A-F243BFD806B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1" creationId="{25AB34E7-371E-4C85-B4D8-731F3244EE03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2" creationId="{1FC4342C-1269-43DA-AC5E-B329F1629E75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5" creationId="{F8883378-1B0D-4E32-BBF2-A3D8BBD4621E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6" creationId="{BDF35AB9-BEB8-426F-91C3-EE70A8B8E5A7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7" creationId="{5F811C55-C066-4D33-A253-5A901D75DDE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8" creationId="{654BC8F4-365C-4AFC-91A5-AC7FE1356F0C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89" creationId="{90BDBA5A-3D0E-47A3-B284-CEF26F60B1B0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0" creationId="{43C45C2E-950A-43A4-955E-B7837A1957E5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1" creationId="{4B6288E5-5141-4C33-A87C-4BEA2577B312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92" creationId="{7C3B0364-A0A4-48B1-B6B7-B41ABCAC2895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93" creationId="{C65CBE3D-EA72-4145-A352-4282C08F7CEE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94" creationId="{CD7DC10D-9E72-41E7-B9BE-CCB5CF3F39DD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5" creationId="{1876A4DD-C6B9-4911-95AE-A1BDFC478F6E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96" creationId="{24A7322F-FDF6-41F4-A1B5-4739450DDE81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7" creationId="{4FA8C883-FC7E-4903-8C53-43AF5E6B216A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8" creationId="{CD73203E-F856-4AB1-BD01-006A1C4DA755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99" creationId="{A6625644-B21F-4DBF-9DAA-F6FE269A8F5F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00" creationId="{D9E524F6-DEDE-40A9-AAC7-E7013ED2F6F9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01" creationId="{B97C9082-A171-4F93-89EE-C286EE6C509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02" creationId="{609712B9-1A6D-42B9-8683-72AA648F7FCE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03" creationId="{EAEFE983-4976-4C8B-88F0-B563C8E71F08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04" creationId="{BDBFE104-73F4-4BA9-A3EF-E0F1D3D78B3B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05" creationId="{425B7218-1F7A-431A-8D0D-071EB9ED6CDC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06" creationId="{6F37B7A9-C393-442C-B803-642A381A5731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07" creationId="{801B3AFB-4CDB-4951-BBA8-42A50C5DD66F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08" creationId="{9E0E2376-6D13-4DDE-9364-CF47A8A51392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09" creationId="{D74EEDAB-9C7B-497C-9AE9-2B40C560D2FF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10" creationId="{CB9C0CD7-0523-4FC2-BAC1-403F4784D435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1" creationId="{80BA098D-F9D5-4387-8669-8CFF60C4772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12" creationId="{1653CB6D-C51F-4D27-A010-85080B6CF3C8}"/>
          </ac:spMkLst>
        </pc:spChg>
        <pc:spChg chg="mod">
          <ac:chgData name="zur bonsen georg" userId="5444515566c7376a" providerId="LiveId" clId="{18CD7E6B-2C8E-405B-A237-843B9FC9D457}" dt="2022-04-18T13:07:04.721" v="7111" actId="1076"/>
          <ac:spMkLst>
            <pc:docMk/>
            <pc:sldMk cId="1079540429" sldId="513"/>
            <ac:spMk id="113" creationId="{128CE734-350F-47E9-B027-5EEEC5B8EEBC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4" creationId="{70154A81-2A91-4912-A9EB-55A9CE330AC2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15" creationId="{6EEB48F0-9767-4B6E-8752-5D32AC4B5587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6" creationId="{3517936C-F190-458D-A375-4B0486F62D42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17" creationId="{73D5F6BE-1F7D-4559-996E-33C6A6CB32FD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8" creationId="{85EDC961-892E-4842-9E12-69333BFECD65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9" creationId="{F6923A38-1823-4D34-A44E-A8DFB8C45D84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20" creationId="{BFA7A4D8-48AA-4F5D-9C67-90B72B774A0F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21" creationId="{ACC0399D-17F5-4015-863B-0EC1D5A2291E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122" creationId="{E21C2135-4099-490D-B8F0-B1CF2F71C05B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123" creationId="{16F5CE86-CF18-47F5-8E97-AA127F11F262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24" creationId="{874D52CC-1D84-443B-A3D9-618377135C0A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25" creationId="{A4AEBC44-DC4C-45C7-9774-B920BE502081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26" creationId="{CF876EC3-C55E-4ADE-B4B5-52D24FD7AA60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27" creationId="{41D61725-0A9F-4315-8D46-B02F54826C5F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28" creationId="{C82E5382-8DED-44CF-90BE-1344C229D7D1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29" creationId="{5587852A-30F1-401A-AB2C-D33F0196B5EE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130" creationId="{63D1935B-2F88-4B27-A250-B7A19EB0DD0E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31" creationId="{E468455B-7FD0-4EFE-B29D-9815F3D10ADD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32" creationId="{5B67AC63-BA4E-49E6-A3A5-6D0BBF673460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3" creationId="{165AF3E3-2BFB-4B9B-AB0B-7DEC817942E0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4" creationId="{24D80F78-DB5A-4F3F-9C71-8E80485BA2D7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35" creationId="{88F809D6-374B-4E50-BCD3-0843A4A19832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6" creationId="{2AC65DCF-1CE8-4C4D-8F3D-76AB16FE4003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7" creationId="{2EC0C433-975C-4C13-A636-1C0C9AED50CE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8" creationId="{433AF014-CE71-49A2-B54E-EDBEE399CEBA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9" creationId="{ACAE635B-AE41-4E9D-BA31-FBB2885AFE19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40" creationId="{1A2EB20E-EE2C-4C30-AC8A-D83844211BC1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41" creationId="{046ED903-F5D3-4FCB-A134-39B0CBDDAB03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42" creationId="{5DD98F5D-C68D-4BE7-A435-A44F37B68DDE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43" creationId="{5025C97A-883E-478F-87E8-E433DD5B960B}"/>
          </ac:spMkLst>
        </pc:spChg>
        <pc:cxnChg chg="del">
          <ac:chgData name="zur bonsen georg" userId="5444515566c7376a" providerId="LiveId" clId="{18CD7E6B-2C8E-405B-A237-843B9FC9D457}" dt="2022-04-18T07:34:06.695" v="6761" actId="478"/>
          <ac:cxnSpMkLst>
            <pc:docMk/>
            <pc:sldMk cId="1079540429" sldId="513"/>
            <ac:cxnSpMk id="83" creationId="{D0D91D79-99C0-4F87-924C-90F084C7D7B7}"/>
          </ac:cxnSpMkLst>
        </pc:cxnChg>
        <pc:cxnChg chg="del">
          <ac:chgData name="zur bonsen georg" userId="5444515566c7376a" providerId="LiveId" clId="{18CD7E6B-2C8E-405B-A237-843B9FC9D457}" dt="2022-04-18T07:34:06.695" v="6761" actId="478"/>
          <ac:cxnSpMkLst>
            <pc:docMk/>
            <pc:sldMk cId="1079540429" sldId="513"/>
            <ac:cxnSpMk id="84" creationId="{A0CD7589-058D-4D03-B0E5-BE7A67374389}"/>
          </ac:cxnSpMkLst>
        </pc:cxnChg>
      </pc:sldChg>
      <pc:sldChg chg="addSp delSp modSp add mod">
        <pc:chgData name="zur bonsen georg" userId="5444515566c7376a" providerId="LiveId" clId="{18CD7E6B-2C8E-405B-A237-843B9FC9D457}" dt="2022-04-18T16:28:41.553" v="9589" actId="20577"/>
        <pc:sldMkLst>
          <pc:docMk/>
          <pc:sldMk cId="1841391240" sldId="513"/>
        </pc:sldMkLst>
        <pc:spChg chg="mod">
          <ac:chgData name="zur bonsen georg" userId="5444515566c7376a" providerId="LiveId" clId="{18CD7E6B-2C8E-405B-A237-843B9FC9D457}" dt="2022-04-18T16:28:41.553" v="9589" actId="20577"/>
          <ac:spMkLst>
            <pc:docMk/>
            <pc:sldMk cId="1841391240" sldId="513"/>
            <ac:spMk id="2" creationId="{00000000-0000-0000-0000-000000000000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15" creationId="{6363B55E-A0DD-4F04-B26B-EE0CF4163EFB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16" creationId="{24DF15E2-8494-4CD4-97B9-0587F72A4C67}"/>
          </ac:spMkLst>
        </pc:spChg>
        <pc:spChg chg="add del mod">
          <ac:chgData name="zur bonsen georg" userId="5444515566c7376a" providerId="LiveId" clId="{18CD7E6B-2C8E-405B-A237-843B9FC9D457}" dt="2022-04-18T14:41:28.558" v="8691" actId="21"/>
          <ac:spMkLst>
            <pc:docMk/>
            <pc:sldMk cId="1841391240" sldId="513"/>
            <ac:spMk id="17" creationId="{308AF181-5B63-40FE-ACF5-DC8224A8F133}"/>
          </ac:spMkLst>
        </pc:spChg>
        <pc:spChg chg="add mod">
          <ac:chgData name="zur bonsen georg" userId="5444515566c7376a" providerId="LiveId" clId="{18CD7E6B-2C8E-405B-A237-843B9FC9D457}" dt="2022-04-18T14:41:30.029" v="8693"/>
          <ac:spMkLst>
            <pc:docMk/>
            <pc:sldMk cId="1841391240" sldId="513"/>
            <ac:spMk id="18" creationId="{CD6ABD94-E5B6-4FE1-919E-4A756D0BE67A}"/>
          </ac:spMkLst>
        </pc:spChg>
        <pc:spChg chg="add del mod">
          <ac:chgData name="zur bonsen georg" userId="5444515566c7376a" providerId="LiveId" clId="{18CD7E6B-2C8E-405B-A237-843B9FC9D457}" dt="2022-04-18T16:26:34.541" v="9529" actId="478"/>
          <ac:spMkLst>
            <pc:docMk/>
            <pc:sldMk cId="1841391240" sldId="513"/>
            <ac:spMk id="19" creationId="{2E641BB1-5A01-4970-834F-C74E96619071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20" creationId="{0ACD5D2F-9466-46C2-BE68-FB771B55134F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21" creationId="{4A5C35A6-C202-4799-87C1-FEC2A6E6E514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22" creationId="{6FE43969-344E-4790-ADCE-A2BB49BADBBE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25" creationId="{A32A9BA3-6FAF-4251-AA22-942116015580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31" creationId="{226E8BC4-EB97-4613-B3B1-2871B43C7114}"/>
          </ac:spMkLst>
        </pc:spChg>
        <pc:spChg chg="add del mod">
          <ac:chgData name="zur bonsen georg" userId="5444515566c7376a" providerId="LiveId" clId="{18CD7E6B-2C8E-405B-A237-843B9FC9D457}" dt="2022-04-18T15:13:36.170" v="8997" actId="478"/>
          <ac:spMkLst>
            <pc:docMk/>
            <pc:sldMk cId="1841391240" sldId="513"/>
            <ac:spMk id="32" creationId="{0B40B168-5499-4534-AFD1-D13DBADB2944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34" creationId="{589D22FF-67D3-4B5B-8976-2F25CC8CFF72}"/>
          </ac:spMkLst>
        </pc:spChg>
        <pc:spChg chg="del">
          <ac:chgData name="zur bonsen georg" userId="5444515566c7376a" providerId="LiveId" clId="{18CD7E6B-2C8E-405B-A237-843B9FC9D457}" dt="2022-04-18T14:41:29.791" v="8692" actId="478"/>
          <ac:spMkLst>
            <pc:docMk/>
            <pc:sldMk cId="1841391240" sldId="513"/>
            <ac:spMk id="35" creationId="{E6FD1F8A-1E29-4082-BD8E-B68439FB0EC7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36" creationId="{C2977F68-7F4D-4C9E-8588-62C40CEE4B1D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37" creationId="{6E1BCBB0-D175-4259-B26F-C597A81DC306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38" creationId="{D99B0301-6E4C-48BF-ACEE-E17BE828AD2F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39" creationId="{3DE79C33-9C3E-4819-BD35-A6EAA83F0B65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40" creationId="{1931DDB2-070E-41B6-AE42-46B74B1FB6F3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41" creationId="{C102D107-AC2C-4A2A-AEB5-E9FCF73ED5E8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42" creationId="{B932074D-067C-43AF-93B1-B237A140835C}"/>
          </ac:spMkLst>
        </pc:spChg>
        <pc:spChg chg="add mod">
          <ac:chgData name="zur bonsen georg" userId="5444515566c7376a" providerId="LiveId" clId="{18CD7E6B-2C8E-405B-A237-843B9FC9D457}" dt="2022-04-18T16:27:02.705" v="9578" actId="20577"/>
          <ac:spMkLst>
            <pc:docMk/>
            <pc:sldMk cId="1841391240" sldId="513"/>
            <ac:spMk id="43" creationId="{2C58D9B2-1600-472D-9EDB-E447A2895348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66" creationId="{3ABCAEDF-CBB1-465E-8102-CBAACAAA9356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70" creationId="{10C88A69-70FD-476B-BC65-029D09FFCE3F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72" creationId="{AA7BECD8-F4C9-4BB8-A25E-4F37FEEBFF73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113" creationId="{69E15E5F-9525-4135-821B-6CDE0D1CB24D}"/>
          </ac:spMkLst>
        </pc:spChg>
        <pc:cxnChg chg="add mod">
          <ac:chgData name="zur bonsen georg" userId="5444515566c7376a" providerId="LiveId" clId="{18CD7E6B-2C8E-405B-A237-843B9FC9D457}" dt="2022-04-18T16:26:39.920" v="9568" actId="1035"/>
          <ac:cxnSpMkLst>
            <pc:docMk/>
            <pc:sldMk cId="1841391240" sldId="513"/>
            <ac:cxnSpMk id="23" creationId="{DC3BDD63-8417-4E77-8ABA-29991766C581}"/>
          </ac:cxnSpMkLst>
        </pc:cxnChg>
        <pc:cxnChg chg="add mod">
          <ac:chgData name="zur bonsen georg" userId="5444515566c7376a" providerId="LiveId" clId="{18CD7E6B-2C8E-405B-A237-843B9FC9D457}" dt="2022-04-18T16:26:39.920" v="9568" actId="1035"/>
          <ac:cxnSpMkLst>
            <pc:docMk/>
            <pc:sldMk cId="1841391240" sldId="513"/>
            <ac:cxnSpMk id="26" creationId="{08278BCF-5D50-463B-9BFF-7F810B6E2EE0}"/>
          </ac:cxnSpMkLst>
        </pc:cxnChg>
        <pc:cxnChg chg="add mod">
          <ac:chgData name="zur bonsen georg" userId="5444515566c7376a" providerId="LiveId" clId="{18CD7E6B-2C8E-405B-A237-843B9FC9D457}" dt="2022-04-18T16:26:39.920" v="9568" actId="1035"/>
          <ac:cxnSpMkLst>
            <pc:docMk/>
            <pc:sldMk cId="1841391240" sldId="513"/>
            <ac:cxnSpMk id="28" creationId="{195B627C-358A-4EC7-939A-4B00634E1B10}"/>
          </ac:cxnSpMkLst>
        </pc:cxnChg>
        <pc:cxnChg chg="mod">
          <ac:chgData name="zur bonsen georg" userId="5444515566c7376a" providerId="LiveId" clId="{18CD7E6B-2C8E-405B-A237-843B9FC9D457}" dt="2022-04-18T16:26:39.920" v="9568" actId="1035"/>
          <ac:cxnSpMkLst>
            <pc:docMk/>
            <pc:sldMk cId="1841391240" sldId="513"/>
            <ac:cxnSpMk id="63" creationId="{EFBFE234-A777-42B3-B97B-9C4B44000D41}"/>
          </ac:cxnSpMkLst>
        </pc:cxnChg>
        <pc:cxnChg chg="add del mod">
          <ac:chgData name="zur bonsen georg" userId="5444515566c7376a" providerId="LiveId" clId="{18CD7E6B-2C8E-405B-A237-843B9FC9D457}" dt="2022-04-18T16:26:31.165" v="9528" actId="478"/>
          <ac:cxnSpMkLst>
            <pc:docMk/>
            <pc:sldMk cId="1841391240" sldId="513"/>
            <ac:cxnSpMk id="67" creationId="{20A55B09-D86E-4FB5-8BE5-BE84F5EAC408}"/>
          </ac:cxnSpMkLst>
        </pc:cxnChg>
        <pc:cxnChg chg="add del">
          <ac:chgData name="zur bonsen georg" userId="5444515566c7376a" providerId="LiveId" clId="{18CD7E6B-2C8E-405B-A237-843B9FC9D457}" dt="2022-04-18T16:26:31.165" v="9528" actId="478"/>
          <ac:cxnSpMkLst>
            <pc:docMk/>
            <pc:sldMk cId="1841391240" sldId="513"/>
            <ac:cxnSpMk id="114" creationId="{DC2FC9AC-EC14-43A0-AB3C-158A9F3C0158}"/>
          </ac:cxnSpMkLst>
        </pc:cxnChg>
        <pc:cxnChg chg="add del">
          <ac:chgData name="zur bonsen georg" userId="5444515566c7376a" providerId="LiveId" clId="{18CD7E6B-2C8E-405B-A237-843B9FC9D457}" dt="2022-04-18T16:26:31.165" v="9528" actId="478"/>
          <ac:cxnSpMkLst>
            <pc:docMk/>
            <pc:sldMk cId="1841391240" sldId="513"/>
            <ac:cxnSpMk id="124" creationId="{81E93DEE-B453-4DF5-94E8-73BF4C0D46DA}"/>
          </ac:cxnSpMkLst>
        </pc:cxnChg>
      </pc:sldChg>
      <pc:sldChg chg="new del">
        <pc:chgData name="zur bonsen georg" userId="5444515566c7376a" providerId="LiveId" clId="{18CD7E6B-2C8E-405B-A237-843B9FC9D457}" dt="2022-04-18T13:07:49.373" v="7118" actId="680"/>
        <pc:sldMkLst>
          <pc:docMk/>
          <pc:sldMk cId="2560189662" sldId="513"/>
        </pc:sldMkLst>
      </pc:sldChg>
      <pc:sldChg chg="new del">
        <pc:chgData name="zur bonsen georg" userId="5444515566c7376a" providerId="LiveId" clId="{18CD7E6B-2C8E-405B-A237-843B9FC9D457}" dt="2022-04-18T13:09:11.717" v="7240" actId="680"/>
        <pc:sldMkLst>
          <pc:docMk/>
          <pc:sldMk cId="2808127128" sldId="513"/>
        </pc:sldMkLst>
      </pc:sldChg>
      <pc:sldChg chg="modSp add mod ord">
        <pc:chgData name="zur bonsen georg" userId="5444515566c7376a" providerId="LiveId" clId="{18CD7E6B-2C8E-405B-A237-843B9FC9D457}" dt="2022-04-24T09:02:48.420" v="9691"/>
        <pc:sldMkLst>
          <pc:docMk/>
          <pc:sldMk cId="1674087842" sldId="514"/>
        </pc:sldMkLst>
        <pc:spChg chg="mod">
          <ac:chgData name="zur bonsen georg" userId="5444515566c7376a" providerId="LiveId" clId="{18CD7E6B-2C8E-405B-A237-843B9FC9D457}" dt="2022-04-24T09:02:19.381" v="9686" actId="20577"/>
          <ac:spMkLst>
            <pc:docMk/>
            <pc:sldMk cId="1674087842" sldId="514"/>
            <ac:spMk id="2" creationId="{00000000-0000-0000-0000-000000000000}"/>
          </ac:spMkLst>
        </pc:spChg>
      </pc:sldChg>
      <pc:sldChg chg="add">
        <pc:chgData name="zur bonsen georg" userId="5444515566c7376a" providerId="LiveId" clId="{18CD7E6B-2C8E-405B-A237-843B9FC9D457}" dt="2022-04-24T09:11:49.033" v="9841" actId="2890"/>
        <pc:sldMkLst>
          <pc:docMk/>
          <pc:sldMk cId="1354036346" sldId="515"/>
        </pc:sldMkLst>
      </pc:sldChg>
      <pc:sldChg chg="addSp delSp modSp add mod">
        <pc:chgData name="zur bonsen georg" userId="5444515566c7376a" providerId="LiveId" clId="{18CD7E6B-2C8E-405B-A237-843B9FC9D457}" dt="2022-04-24T09:58:18.166" v="11149" actId="20577"/>
        <pc:sldMkLst>
          <pc:docMk/>
          <pc:sldMk cId="486507416" sldId="516"/>
        </pc:sldMkLst>
        <pc:spChg chg="mod">
          <ac:chgData name="zur bonsen georg" userId="5444515566c7376a" providerId="LiveId" clId="{18CD7E6B-2C8E-405B-A237-843B9FC9D457}" dt="2022-04-24T09:45:29.415" v="10752" actId="20577"/>
          <ac:spMkLst>
            <pc:docMk/>
            <pc:sldMk cId="486507416" sldId="516"/>
            <ac:spMk id="2" creationId="{00000000-0000-0000-0000-000000000000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" creationId="{889D2F18-1ED3-4699-B6EB-7D9715CEA0EF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18" creationId="{CD6ABD94-E5B6-4FE1-919E-4A756D0BE67A}"/>
          </ac:spMkLst>
        </pc:spChg>
        <pc:spChg chg="add del mod">
          <ac:chgData name="zur bonsen georg" userId="5444515566c7376a" providerId="LiveId" clId="{18CD7E6B-2C8E-405B-A237-843B9FC9D457}" dt="2022-04-24T09:43:24.415" v="10737" actId="478"/>
          <ac:spMkLst>
            <pc:docMk/>
            <pc:sldMk cId="486507416" sldId="516"/>
            <ac:spMk id="19" creationId="{71956BA9-98AD-4B35-B205-A3A09A5B3CF8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20" creationId="{0ACD5D2F-9466-46C2-BE68-FB771B55134F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21" creationId="{4A5C35A6-C202-4799-87C1-FEC2A6E6E514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22" creationId="{6FE43969-344E-4790-ADCE-A2BB49BADBBE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24" creationId="{3ED4B5A5-B74F-409B-B444-4889A1BBB5CD}"/>
          </ac:spMkLst>
        </pc:spChg>
        <pc:spChg chg="add mod ord topLvl">
          <ac:chgData name="zur bonsen georg" userId="5444515566c7376a" providerId="LiveId" clId="{18CD7E6B-2C8E-405B-A237-843B9FC9D457}" dt="2022-04-24T09:47:57.415" v="10854" actId="14100"/>
          <ac:spMkLst>
            <pc:docMk/>
            <pc:sldMk cId="486507416" sldId="516"/>
            <ac:spMk id="25" creationId="{706CEEAD-4E9E-4564-912D-BD0F1A60239B}"/>
          </ac:spMkLst>
        </pc:spChg>
        <pc:spChg chg="add mod">
          <ac:chgData name="zur bonsen georg" userId="5444515566c7376a" providerId="LiveId" clId="{18CD7E6B-2C8E-405B-A237-843B9FC9D457}" dt="2022-04-24T09:34:25.777" v="10265" actId="14100"/>
          <ac:spMkLst>
            <pc:docMk/>
            <pc:sldMk cId="486507416" sldId="516"/>
            <ac:spMk id="27" creationId="{C845053D-E8BC-4208-87F1-7CFD3E8C9182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31" creationId="{226E8BC4-EB97-4613-B3B1-2871B43C7114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34" creationId="{589D22FF-67D3-4B5B-8976-2F25CC8CFF72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36" creationId="{C2977F68-7F4D-4C9E-8588-62C40CEE4B1D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38" creationId="{D99B0301-6E4C-48BF-ACEE-E17BE828AD2F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40" creationId="{1931DDB2-070E-41B6-AE42-46B74B1FB6F3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41" creationId="{C102D107-AC2C-4A2A-AEB5-E9FCF73ED5E8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42" creationId="{B932074D-067C-43AF-93B1-B237A140835C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43" creationId="{2C58D9B2-1600-472D-9EDB-E447A2895348}"/>
          </ac:spMkLst>
        </pc:spChg>
        <pc:spChg chg="add mod">
          <ac:chgData name="zur bonsen georg" userId="5444515566c7376a" providerId="LiveId" clId="{18CD7E6B-2C8E-405B-A237-843B9FC9D457}" dt="2022-04-24T09:53:40.734" v="11135" actId="1038"/>
          <ac:spMkLst>
            <pc:docMk/>
            <pc:sldMk cId="486507416" sldId="516"/>
            <ac:spMk id="52" creationId="{203B631C-942B-432D-8B61-B635D8DDA59C}"/>
          </ac:spMkLst>
        </pc:spChg>
        <pc:spChg chg="add mod">
          <ac:chgData name="zur bonsen georg" userId="5444515566c7376a" providerId="LiveId" clId="{18CD7E6B-2C8E-405B-A237-843B9FC9D457}" dt="2022-04-24T09:47:26.777" v="10850" actId="14100"/>
          <ac:spMkLst>
            <pc:docMk/>
            <pc:sldMk cId="486507416" sldId="516"/>
            <ac:spMk id="53" creationId="{8F312EE4-9DB1-4852-A44F-375C657AF82D}"/>
          </ac:spMkLst>
        </pc:spChg>
        <pc:spChg chg="add mod">
          <ac:chgData name="zur bonsen georg" userId="5444515566c7376a" providerId="LiveId" clId="{18CD7E6B-2C8E-405B-A237-843B9FC9D457}" dt="2022-04-24T09:30:19.482" v="10141" actId="1038"/>
          <ac:spMkLst>
            <pc:docMk/>
            <pc:sldMk cId="486507416" sldId="516"/>
            <ac:spMk id="54" creationId="{ABB56097-DBC1-402E-8CDB-FBFE423B776F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5" creationId="{6E7D0383-3014-4FA9-BB4E-BF9BA54A5667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6" creationId="{AC5C75F6-33B2-4EDE-B006-0060F2327EA3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7" creationId="{65E122B7-A6D3-4441-9F85-A0AD6AB86F18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8" creationId="{2EE81BD3-0A03-432B-BC28-2BFE9870D85F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9" creationId="{9E832CBF-6367-4A1B-9DE0-9A3AC016E9CA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60" creationId="{283CA7DD-F498-4AF7-8AC2-8951C401642B}"/>
          </ac:spMkLst>
        </pc:spChg>
        <pc:spChg chg="add mod">
          <ac:chgData name="zur bonsen georg" userId="5444515566c7376a" providerId="LiveId" clId="{18CD7E6B-2C8E-405B-A237-843B9FC9D457}" dt="2022-04-24T09:58:18.166" v="11149" actId="20577"/>
          <ac:spMkLst>
            <pc:docMk/>
            <pc:sldMk cId="486507416" sldId="516"/>
            <ac:spMk id="61" creationId="{9FBE586E-4B6F-4673-BA29-204C64B2DE17}"/>
          </ac:spMkLst>
        </pc:spChg>
        <pc:spChg chg="add del mod">
          <ac:chgData name="zur bonsen georg" userId="5444515566c7376a" providerId="LiveId" clId="{18CD7E6B-2C8E-405B-A237-843B9FC9D457}" dt="2022-04-24T09:32:59.338" v="10202" actId="478"/>
          <ac:spMkLst>
            <pc:docMk/>
            <pc:sldMk cId="486507416" sldId="516"/>
            <ac:spMk id="65" creationId="{8FD911D1-1390-4529-8255-6D85129CCA6C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66" creationId="{6D1F2D25-ABE1-4818-8B33-231026119194}"/>
          </ac:spMkLst>
        </pc:spChg>
        <pc:spChg chg="add del mod">
          <ac:chgData name="zur bonsen georg" userId="5444515566c7376a" providerId="LiveId" clId="{18CD7E6B-2C8E-405B-A237-843B9FC9D457}" dt="2022-04-24T09:33:47.897" v="10214" actId="478"/>
          <ac:spMkLst>
            <pc:docMk/>
            <pc:sldMk cId="486507416" sldId="516"/>
            <ac:spMk id="67" creationId="{63CD2D07-D7A0-4B51-99C9-24A6D4AB2BF8}"/>
          </ac:spMkLst>
        </pc:spChg>
        <pc:spChg chg="add del mod">
          <ac:chgData name="zur bonsen georg" userId="5444515566c7376a" providerId="LiveId" clId="{18CD7E6B-2C8E-405B-A237-843B9FC9D457}" dt="2022-04-24T09:33:47.897" v="10214" actId="478"/>
          <ac:spMkLst>
            <pc:docMk/>
            <pc:sldMk cId="486507416" sldId="516"/>
            <ac:spMk id="68" creationId="{568AE0A3-8779-42FE-8BFD-579DF378A9FC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0" creationId="{2AF1CC50-E014-473B-9166-66BF4F401249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1" creationId="{C25375C8-02A8-403B-86D9-DF185FAB96AC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2" creationId="{12670B64-5DC1-4053-AA72-D2604A2125BF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3" creationId="{5479034C-0BD4-4818-90DB-1C41533DFDE7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4" creationId="{3D26F88C-C519-4826-8307-24E0B1F632EB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5" creationId="{D46D7B0C-CD5C-4B12-B457-028F23892FBF}"/>
          </ac:spMkLst>
        </pc:spChg>
        <pc:spChg chg="add mod ord">
          <ac:chgData name="zur bonsen georg" userId="5444515566c7376a" providerId="LiveId" clId="{18CD7E6B-2C8E-405B-A237-843B9FC9D457}" dt="2022-04-24T09:48:31.625" v="10859" actId="14100"/>
          <ac:spMkLst>
            <pc:docMk/>
            <pc:sldMk cId="486507416" sldId="516"/>
            <ac:spMk id="86" creationId="{84589899-8688-4194-BE28-4C34319E6A01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7" creationId="{64B8A89A-74F0-49B9-BEE5-CB52E549C4E3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8" creationId="{FFAF3EF7-ECB1-4FA8-9FBF-EA2EB52B0995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9" creationId="{BA583704-8B95-4A43-99B4-6BC6B6B316D3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0" creationId="{273001C5-EBBF-4CB2-A520-D98228025B2C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1" creationId="{FE7BAECC-630B-4AD3-A536-0A3BB7554FD6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2" creationId="{3598A97A-FFF7-4401-AF47-428F444A41EA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3" creationId="{213A46E3-49EA-40D6-B6BB-13C81BA15319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4" creationId="{24082245-76AD-45C5-B1CD-334773C3EE7E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5" creationId="{C9DD8028-44B6-4262-B6DF-A3839B907D5C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6" creationId="{59501D39-DC6A-40F2-AC0C-A3E08B8586C6}"/>
          </ac:spMkLst>
        </pc:spChg>
        <pc:spChg chg="add mod">
          <ac:chgData name="zur bonsen georg" userId="5444515566c7376a" providerId="LiveId" clId="{18CD7E6B-2C8E-405B-A237-843B9FC9D457}" dt="2022-04-24T09:48:54.364" v="10865" actId="20577"/>
          <ac:spMkLst>
            <pc:docMk/>
            <pc:sldMk cId="486507416" sldId="516"/>
            <ac:spMk id="97" creationId="{1BA0CAF0-DF6C-4E8A-A477-40E7F0EA5DD2}"/>
          </ac:spMkLst>
        </pc:spChg>
        <pc:spChg chg="add mod">
          <ac:chgData name="zur bonsen georg" userId="5444515566c7376a" providerId="LiveId" clId="{18CD7E6B-2C8E-405B-A237-843B9FC9D457}" dt="2022-04-24T09:54:07.562" v="11148" actId="1038"/>
          <ac:spMkLst>
            <pc:docMk/>
            <pc:sldMk cId="486507416" sldId="516"/>
            <ac:spMk id="98" creationId="{EF0569DC-8B42-4E32-A322-88A2C67D0C05}"/>
          </ac:spMkLst>
        </pc:spChg>
        <pc:spChg chg="add mod">
          <ac:chgData name="zur bonsen georg" userId="5444515566c7376a" providerId="LiveId" clId="{18CD7E6B-2C8E-405B-A237-843B9FC9D457}" dt="2022-04-24T09:53:53.080" v="11144" actId="1036"/>
          <ac:spMkLst>
            <pc:docMk/>
            <pc:sldMk cId="486507416" sldId="516"/>
            <ac:spMk id="99" creationId="{20834EA1-5C27-45CE-8593-82B1476477A8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100" creationId="{4543FE51-85C0-4DB1-B928-2096925C9817}"/>
          </ac:spMkLst>
        </pc:spChg>
        <pc:spChg chg="add del mod">
          <ac:chgData name="zur bonsen georg" userId="5444515566c7376a" providerId="LiveId" clId="{18CD7E6B-2C8E-405B-A237-843B9FC9D457}" dt="2022-04-24T09:43:22.829" v="10736" actId="478"/>
          <ac:spMkLst>
            <pc:docMk/>
            <pc:sldMk cId="486507416" sldId="516"/>
            <ac:spMk id="103" creationId="{833C44BD-E8B9-476B-8856-3123C54F688E}"/>
          </ac:spMkLst>
        </pc:spChg>
        <pc:spChg chg="add del mod">
          <ac:chgData name="zur bonsen georg" userId="5444515566c7376a" providerId="LiveId" clId="{18CD7E6B-2C8E-405B-A237-843B9FC9D457}" dt="2022-04-24T09:46:26.453" v="10769" actId="478"/>
          <ac:spMkLst>
            <pc:docMk/>
            <pc:sldMk cId="486507416" sldId="516"/>
            <ac:spMk id="105" creationId="{676E81E5-E972-4FCA-A29E-EDC233624D19}"/>
          </ac:spMkLst>
        </pc:spChg>
        <pc:spChg chg="add mod">
          <ac:chgData name="zur bonsen georg" userId="5444515566c7376a" providerId="LiveId" clId="{18CD7E6B-2C8E-405B-A237-843B9FC9D457}" dt="2022-04-24T09:47:29.075" v="10851" actId="121"/>
          <ac:spMkLst>
            <pc:docMk/>
            <pc:sldMk cId="486507416" sldId="516"/>
            <ac:spMk id="106" creationId="{569443BF-A519-4247-9C59-73E0C648B534}"/>
          </ac:spMkLst>
        </pc:spChg>
        <pc:spChg chg="add mod">
          <ac:chgData name="zur bonsen georg" userId="5444515566c7376a" providerId="LiveId" clId="{18CD7E6B-2C8E-405B-A237-843B9FC9D457}" dt="2022-04-24T09:53:40.734" v="11135" actId="1038"/>
          <ac:spMkLst>
            <pc:docMk/>
            <pc:sldMk cId="486507416" sldId="516"/>
            <ac:spMk id="107" creationId="{CB76399E-FA26-4202-AA89-BBF7B05A8091}"/>
          </ac:spMkLst>
        </pc:spChg>
        <pc:spChg chg="add mod">
          <ac:chgData name="zur bonsen georg" userId="5444515566c7376a" providerId="LiveId" clId="{18CD7E6B-2C8E-405B-A237-843B9FC9D457}" dt="2022-04-24T09:53:50.658" v="11142" actId="1036"/>
          <ac:spMkLst>
            <pc:docMk/>
            <pc:sldMk cId="486507416" sldId="516"/>
            <ac:spMk id="111" creationId="{0E212DA4-1DC8-441E-A4AE-E36E7513D353}"/>
          </ac:spMkLst>
        </pc:spChg>
        <pc:spChg chg="add del mod">
          <ac:chgData name="zur bonsen georg" userId="5444515566c7376a" providerId="LiveId" clId="{18CD7E6B-2C8E-405B-A237-843B9FC9D457}" dt="2022-04-24T09:53:09.418" v="11128" actId="478"/>
          <ac:spMkLst>
            <pc:docMk/>
            <pc:sldMk cId="486507416" sldId="516"/>
            <ac:spMk id="112" creationId="{0F7A5775-8A15-4974-8E03-550C0A9313C4}"/>
          </ac:spMkLst>
        </pc:spChg>
        <pc:grpChg chg="add del mod">
          <ac:chgData name="zur bonsen georg" userId="5444515566c7376a" providerId="LiveId" clId="{18CD7E6B-2C8E-405B-A237-843B9FC9D457}" dt="2022-04-24T09:33:33.971" v="10208" actId="165"/>
          <ac:grpSpMkLst>
            <pc:docMk/>
            <pc:sldMk cId="486507416" sldId="516"/>
            <ac:grpSpMk id="64" creationId="{D2606789-A2A8-40C9-AE0F-F33969F44B7E}"/>
          </ac:grpSpMkLst>
        </pc:grpChg>
        <pc:grpChg chg="add mod">
          <ac:chgData name="zur bonsen georg" userId="5444515566c7376a" providerId="LiveId" clId="{18CD7E6B-2C8E-405B-A237-843B9FC9D457}" dt="2022-04-24T09:47:55.613" v="10853" actId="14100"/>
          <ac:grpSpMkLst>
            <pc:docMk/>
            <pc:sldMk cId="486507416" sldId="516"/>
            <ac:grpSpMk id="108" creationId="{23A4939E-7A11-4DE4-ABA5-4A699BA25ED4}"/>
          </ac:grpSpMkLst>
        </pc:grpChg>
        <pc:cxnChg chg="add mod topLvl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4" creationId="{F842D469-7273-4A60-A4B8-5BD7647CADB0}"/>
          </ac:cxnSpMkLst>
        </pc:cxnChg>
        <pc:cxnChg chg="del">
          <ac:chgData name="zur bonsen georg" userId="5444515566c7376a" providerId="LiveId" clId="{18CD7E6B-2C8E-405B-A237-843B9FC9D457}" dt="2022-04-24T09:12:12.097" v="9850" actId="478"/>
          <ac:cxnSpMkLst>
            <pc:docMk/>
            <pc:sldMk cId="486507416" sldId="516"/>
            <ac:cxnSpMk id="23" creationId="{DC3BDD63-8417-4E77-8ABA-29991766C581}"/>
          </ac:cxnSpMkLst>
        </pc:cxnChg>
        <pc:cxnChg chg="del mod">
          <ac:chgData name="zur bonsen georg" userId="5444515566c7376a" providerId="LiveId" clId="{18CD7E6B-2C8E-405B-A237-843B9FC9D457}" dt="2022-04-24T09:12:12.097" v="9850" actId="478"/>
          <ac:cxnSpMkLst>
            <pc:docMk/>
            <pc:sldMk cId="486507416" sldId="516"/>
            <ac:cxnSpMk id="26" creationId="{08278BCF-5D50-463B-9BFF-7F810B6E2EE0}"/>
          </ac:cxnSpMkLst>
        </pc:cxnChg>
        <pc:cxnChg chg="del">
          <ac:chgData name="zur bonsen georg" userId="5444515566c7376a" providerId="LiveId" clId="{18CD7E6B-2C8E-405B-A237-843B9FC9D457}" dt="2022-04-24T09:12:12.097" v="9850" actId="478"/>
          <ac:cxnSpMkLst>
            <pc:docMk/>
            <pc:sldMk cId="486507416" sldId="516"/>
            <ac:cxnSpMk id="28" creationId="{195B627C-358A-4EC7-939A-4B00634E1B10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29" creationId="{89027FBD-F4CF-4A15-806C-8BC610CE413E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0" creationId="{BAA9AD98-B992-4783-8361-28CF1D26BFA5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2" creationId="{D08133E7-7C1B-414B-8CA8-C620E79B3FC6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3" creationId="{CCF686B3-6F1E-4E51-AA68-6AE8545F7F48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5" creationId="{F5D4914B-87CC-4263-A718-CB681F75A62A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7" creationId="{F26399DD-703C-4252-A9AD-99F4344932EF}"/>
          </ac:cxnSpMkLst>
        </pc:cxnChg>
        <pc:cxnChg chg="add mod topLvl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39" creationId="{A4894391-C828-4D75-B11E-96527C1724D4}"/>
          </ac:cxnSpMkLst>
        </pc:cxnChg>
        <pc:cxnChg chg="add del mod topLvl">
          <ac:chgData name="zur bonsen georg" userId="5444515566c7376a" providerId="LiveId" clId="{18CD7E6B-2C8E-405B-A237-843B9FC9D457}" dt="2022-04-24T09:34:09.418" v="10257" actId="478"/>
          <ac:cxnSpMkLst>
            <pc:docMk/>
            <pc:sldMk cId="486507416" sldId="516"/>
            <ac:cxnSpMk id="44" creationId="{19CEB66E-A9D0-40BA-869E-C88D7D3BC0E9}"/>
          </ac:cxnSpMkLst>
        </pc:cxnChg>
        <pc:cxnChg chg="add del mod topLvl">
          <ac:chgData name="zur bonsen georg" userId="5444515566c7376a" providerId="LiveId" clId="{18CD7E6B-2C8E-405B-A237-843B9FC9D457}" dt="2022-04-24T09:34:10.779" v="10258" actId="478"/>
          <ac:cxnSpMkLst>
            <pc:docMk/>
            <pc:sldMk cId="486507416" sldId="516"/>
            <ac:cxnSpMk id="45" creationId="{614D6E0E-3F32-4DA1-BCF9-9480C150F757}"/>
          </ac:cxnSpMkLst>
        </pc:cxnChg>
        <pc:cxnChg chg="add del mod topLvl">
          <ac:chgData name="zur bonsen georg" userId="5444515566c7376a" providerId="LiveId" clId="{18CD7E6B-2C8E-405B-A237-843B9FC9D457}" dt="2022-04-24T09:34:12.428" v="10259" actId="478"/>
          <ac:cxnSpMkLst>
            <pc:docMk/>
            <pc:sldMk cId="486507416" sldId="516"/>
            <ac:cxnSpMk id="46" creationId="{415E90ED-964C-4A05-9937-8C3489F7F04F}"/>
          </ac:cxnSpMkLst>
        </pc:cxnChg>
        <pc:cxnChg chg="add del mod topLvl">
          <ac:chgData name="zur bonsen georg" userId="5444515566c7376a" providerId="LiveId" clId="{18CD7E6B-2C8E-405B-A237-843B9FC9D457}" dt="2022-04-24T09:34:13.477" v="10260" actId="478"/>
          <ac:cxnSpMkLst>
            <pc:docMk/>
            <pc:sldMk cId="486507416" sldId="516"/>
            <ac:cxnSpMk id="47" creationId="{FF982C1E-530A-4A5B-B61F-6697D2A5CD83}"/>
          </ac:cxnSpMkLst>
        </pc:cxnChg>
        <pc:cxnChg chg="add del mod topLvl">
          <ac:chgData name="zur bonsen georg" userId="5444515566c7376a" providerId="LiveId" clId="{18CD7E6B-2C8E-405B-A237-843B9FC9D457}" dt="2022-04-24T09:34:07.336" v="10256" actId="478"/>
          <ac:cxnSpMkLst>
            <pc:docMk/>
            <pc:sldMk cId="486507416" sldId="516"/>
            <ac:cxnSpMk id="48" creationId="{E568B535-D528-41D5-9134-86A6AE376A84}"/>
          </ac:cxnSpMkLst>
        </pc:cxnChg>
        <pc:cxnChg chg="add mod topLvl">
          <ac:chgData name="zur bonsen georg" userId="5444515566c7376a" providerId="LiveId" clId="{18CD7E6B-2C8E-405B-A237-843B9FC9D457}" dt="2022-04-24T09:47:58.724" v="10856" actId="1036"/>
          <ac:cxnSpMkLst>
            <pc:docMk/>
            <pc:sldMk cId="486507416" sldId="516"/>
            <ac:cxnSpMk id="49" creationId="{48D66365-D37C-45BC-B23E-71F347D01CAC}"/>
          </ac:cxnSpMkLst>
        </pc:cxnChg>
        <pc:cxnChg chg="add mod topLvl">
          <ac:chgData name="zur bonsen georg" userId="5444515566c7376a" providerId="LiveId" clId="{18CD7E6B-2C8E-405B-A237-843B9FC9D457}" dt="2022-04-24T09:34:29.911" v="10266" actId="14100"/>
          <ac:cxnSpMkLst>
            <pc:docMk/>
            <pc:sldMk cId="486507416" sldId="516"/>
            <ac:cxnSpMk id="50" creationId="{12BC7B7F-E63B-4202-8BD1-D3D2BB179550}"/>
          </ac:cxnSpMkLst>
        </pc:cxnChg>
        <pc:cxnChg chg="add mod topLvl">
          <ac:chgData name="zur bonsen georg" userId="5444515566c7376a" providerId="LiveId" clId="{18CD7E6B-2C8E-405B-A237-843B9FC9D457}" dt="2022-04-24T09:47:07.458" v="10841" actId="1036"/>
          <ac:cxnSpMkLst>
            <pc:docMk/>
            <pc:sldMk cId="486507416" sldId="516"/>
            <ac:cxnSpMk id="51" creationId="{902CA58C-AA75-4D07-838F-11799D28965F}"/>
          </ac:cxnSpMkLst>
        </pc:cxnChg>
        <pc:cxnChg chg="del">
          <ac:chgData name="zur bonsen georg" userId="5444515566c7376a" providerId="LiveId" clId="{18CD7E6B-2C8E-405B-A237-843B9FC9D457}" dt="2022-04-24T09:12:12.097" v="9850" actId="478"/>
          <ac:cxnSpMkLst>
            <pc:docMk/>
            <pc:sldMk cId="486507416" sldId="516"/>
            <ac:cxnSpMk id="63" creationId="{EFBFE234-A777-42B3-B97B-9C4B44000D41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69" creationId="{35E8535F-64D6-4F95-AED8-8D390630AA4B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0" creationId="{02EA09E3-29FD-4B40-BAB8-14FB177F4597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1" creationId="{6B49EAB6-DBB6-47F2-8C5A-0E730310F041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2" creationId="{71F89E94-DF9E-4448-8D76-C7306D691158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3" creationId="{AC2345D7-453F-48DA-9856-BB628BAE4862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4" creationId="{9441C0AC-0429-4B88-A95F-F3DD8C427E3F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5" creationId="{42DEA55A-A88E-43ED-9C06-D58243AFDD69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6" creationId="{39345581-3111-489E-AF08-1B7C443C9F3D}"/>
          </ac:cxnSpMkLst>
        </pc:cxnChg>
        <pc:cxnChg chg="add mod">
          <ac:chgData name="zur bonsen georg" userId="5444515566c7376a" providerId="LiveId" clId="{18CD7E6B-2C8E-405B-A237-843B9FC9D457}" dt="2022-04-24T09:54:01.046" v="11146" actId="14100"/>
          <ac:cxnSpMkLst>
            <pc:docMk/>
            <pc:sldMk cId="486507416" sldId="516"/>
            <ac:cxnSpMk id="102" creationId="{9790E2B3-7045-4D08-9FC1-D3E037BECFC0}"/>
          </ac:cxnSpMkLst>
        </pc:cxnChg>
      </pc:sldChg>
      <pc:sldChg chg="addSp delSp modSp add mod">
        <pc:chgData name="zur bonsen georg" userId="5444515566c7376a" providerId="LiveId" clId="{18CD7E6B-2C8E-405B-A237-843B9FC9D457}" dt="2022-04-24T19:41:43.795" v="12845" actId="114"/>
        <pc:sldMkLst>
          <pc:docMk/>
          <pc:sldMk cId="3613540113" sldId="517"/>
        </pc:sldMkLst>
        <pc:spChg chg="mod">
          <ac:chgData name="zur bonsen georg" userId="5444515566c7376a" providerId="LiveId" clId="{18CD7E6B-2C8E-405B-A237-843B9FC9D457}" dt="2022-04-24T18:10:45.431" v="11159" actId="20577"/>
          <ac:spMkLst>
            <pc:docMk/>
            <pc:sldMk cId="3613540113" sldId="517"/>
            <ac:spMk id="2" creationId="{00000000-0000-0000-0000-000000000000}"/>
          </ac:spMkLst>
        </pc:spChg>
        <pc:spChg chg="add mod">
          <ac:chgData name="zur bonsen georg" userId="5444515566c7376a" providerId="LiveId" clId="{18CD7E6B-2C8E-405B-A237-843B9FC9D457}" dt="2022-04-24T19:36:00.623" v="12514" actId="14100"/>
          <ac:spMkLst>
            <pc:docMk/>
            <pc:sldMk cId="3613540113" sldId="517"/>
            <ac:spMk id="3" creationId="{791B3492-49E5-4EAB-AB2D-4735FA5554D6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" creationId="{889D2F18-1ED3-4699-B6EB-7D9715CEA0E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24" creationId="{3ED4B5A5-B74F-409B-B444-4889A1BBB5CD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25" creationId="{706CEEAD-4E9E-4564-912D-BD0F1A60239B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27" creationId="{C845053D-E8BC-4208-87F1-7CFD3E8C9182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2" creationId="{203B631C-942B-432D-8B61-B635D8DDA59C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3" creationId="{8F312EE4-9DB1-4852-A44F-375C657AF82D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4" creationId="{ABB56097-DBC1-402E-8CDB-FBFE423B776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5" creationId="{6E7D0383-3014-4FA9-BB4E-BF9BA54A5667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6" creationId="{AC5C75F6-33B2-4EDE-B006-0060F2327EA3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7" creationId="{65E122B7-A6D3-4441-9F85-A0AD6AB86F18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8" creationId="{2EE81BD3-0A03-432B-BC28-2BFE9870D85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9" creationId="{9E832CBF-6367-4A1B-9DE0-9A3AC016E9CA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60" creationId="{283CA7DD-F498-4AF7-8AC2-8951C401642B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61" creationId="{9FBE586E-4B6F-4673-BA29-204C64B2DE17}"/>
          </ac:spMkLst>
        </pc:spChg>
        <pc:spChg chg="add del mod">
          <ac:chgData name="zur bonsen georg" userId="5444515566c7376a" providerId="LiveId" clId="{18CD7E6B-2C8E-405B-A237-843B9FC9D457}" dt="2022-04-24T18:12:08.397" v="11185" actId="478"/>
          <ac:spMkLst>
            <pc:docMk/>
            <pc:sldMk cId="3613540113" sldId="517"/>
            <ac:spMk id="62" creationId="{798DB2BF-CC54-4FB6-A937-44CF1CC94E61}"/>
          </ac:spMkLst>
        </pc:spChg>
        <pc:spChg chg="add del mod">
          <ac:chgData name="zur bonsen georg" userId="5444515566c7376a" providerId="LiveId" clId="{18CD7E6B-2C8E-405B-A237-843B9FC9D457}" dt="2022-04-24T18:12:08.397" v="11185" actId="478"/>
          <ac:spMkLst>
            <pc:docMk/>
            <pc:sldMk cId="3613540113" sldId="517"/>
            <ac:spMk id="63" creationId="{E8930E2F-25D9-4291-8304-D6D4CFD34FD2}"/>
          </ac:spMkLst>
        </pc:spChg>
        <pc:spChg chg="add mod">
          <ac:chgData name="zur bonsen georg" userId="5444515566c7376a" providerId="LiveId" clId="{18CD7E6B-2C8E-405B-A237-843B9FC9D457}" dt="2022-04-24T19:37:17.584" v="12549" actId="1035"/>
          <ac:spMkLst>
            <pc:docMk/>
            <pc:sldMk cId="3613540113" sldId="517"/>
            <ac:spMk id="64" creationId="{883ABDD0-65A6-435D-8B56-90A80D54F324}"/>
          </ac:spMkLst>
        </pc:spChg>
        <pc:spChg chg="add mod">
          <ac:chgData name="zur bonsen georg" userId="5444515566c7376a" providerId="LiveId" clId="{18CD7E6B-2C8E-405B-A237-843B9FC9D457}" dt="2022-04-24T19:37:19.392" v="12550" actId="1035"/>
          <ac:spMkLst>
            <pc:docMk/>
            <pc:sldMk cId="3613540113" sldId="517"/>
            <ac:spMk id="65" creationId="{686BDFC6-A2B1-471F-B355-21875EFB72A0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66" creationId="{6D1F2D25-ABE1-4818-8B33-231026119194}"/>
          </ac:spMkLst>
        </pc:spChg>
        <pc:spChg chg="add mod">
          <ac:chgData name="zur bonsen georg" userId="5444515566c7376a" providerId="LiveId" clId="{18CD7E6B-2C8E-405B-A237-843B9FC9D457}" dt="2022-04-24T19:37:15.407" v="12548" actId="1035"/>
          <ac:spMkLst>
            <pc:docMk/>
            <pc:sldMk cId="3613540113" sldId="517"/>
            <ac:spMk id="67" creationId="{EBB9BB94-EF9D-43C6-8228-FA2225AD30E9}"/>
          </ac:spMkLst>
        </pc:spChg>
        <pc:spChg chg="add mod">
          <ac:chgData name="zur bonsen georg" userId="5444515566c7376a" providerId="LiveId" clId="{18CD7E6B-2C8E-405B-A237-843B9FC9D457}" dt="2022-04-24T19:37:12.007" v="12547" actId="14100"/>
          <ac:spMkLst>
            <pc:docMk/>
            <pc:sldMk cId="3613540113" sldId="517"/>
            <ac:spMk id="68" creationId="{03C826A4-3FA7-4950-92B4-D05D1DDFB73B}"/>
          </ac:spMkLst>
        </pc:spChg>
        <pc:spChg chg="add mod">
          <ac:chgData name="zur bonsen georg" userId="5444515566c7376a" providerId="LiveId" clId="{18CD7E6B-2C8E-405B-A237-843B9FC9D457}" dt="2022-04-24T19:36:49.738" v="12543" actId="14100"/>
          <ac:spMkLst>
            <pc:docMk/>
            <pc:sldMk cId="3613540113" sldId="517"/>
            <ac:spMk id="77" creationId="{95A38175-2129-4772-8C99-82477AAFEBE9}"/>
          </ac:spMkLst>
        </pc:spChg>
        <pc:spChg chg="add mod">
          <ac:chgData name="zur bonsen georg" userId="5444515566c7376a" providerId="LiveId" clId="{18CD7E6B-2C8E-405B-A237-843B9FC9D457}" dt="2022-04-24T19:38:34.478" v="12574" actId="14100"/>
          <ac:spMkLst>
            <pc:docMk/>
            <pc:sldMk cId="3613540113" sldId="517"/>
            <ac:spMk id="78" creationId="{A7B0EDF8-310D-4BB0-B504-21A9ABC4924E}"/>
          </ac:spMkLst>
        </pc:spChg>
        <pc:spChg chg="add mod">
          <ac:chgData name="zur bonsen georg" userId="5444515566c7376a" providerId="LiveId" clId="{18CD7E6B-2C8E-405B-A237-843B9FC9D457}" dt="2022-04-24T19:38:34.478" v="12574" actId="14100"/>
          <ac:spMkLst>
            <pc:docMk/>
            <pc:sldMk cId="3613540113" sldId="517"/>
            <ac:spMk id="79" creationId="{74A6E530-5BB8-4944-AC0B-B84C481734E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0" creationId="{2AF1CC50-E014-473B-9166-66BF4F401249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1" creationId="{C25375C8-02A8-403B-86D9-DF185FAB96AC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2" creationId="{12670B64-5DC1-4053-AA72-D2604A2125B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3" creationId="{5479034C-0BD4-4818-90DB-1C41533DFDE7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4" creationId="{3D26F88C-C519-4826-8307-24E0B1F632EB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5" creationId="{D46D7B0C-CD5C-4B12-B457-028F23892FB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6" creationId="{84589899-8688-4194-BE28-4C34319E6A01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7" creationId="{64B8A89A-74F0-49B9-BEE5-CB52E549C4E3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8" creationId="{FFAF3EF7-ECB1-4FA8-9FBF-EA2EB52B0995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9" creationId="{BA583704-8B95-4A43-99B4-6BC6B6B316D3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0" creationId="{273001C5-EBBF-4CB2-A520-D98228025B2C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1" creationId="{FE7BAECC-630B-4AD3-A536-0A3BB7554FD6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2" creationId="{3598A97A-FFF7-4401-AF47-428F444A41EA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3" creationId="{213A46E3-49EA-40D6-B6BB-13C81BA15319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4" creationId="{24082245-76AD-45C5-B1CD-334773C3EE7E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5" creationId="{C9DD8028-44B6-4262-B6DF-A3839B907D5C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6" creationId="{59501D39-DC6A-40F2-AC0C-A3E08B8586C6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7" creationId="{1BA0CAF0-DF6C-4E8A-A477-40E7F0EA5DD2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8" creationId="{EF0569DC-8B42-4E32-A322-88A2C67D0C05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9" creationId="{20834EA1-5C27-45CE-8593-82B1476477A8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100" creationId="{4543FE51-85C0-4DB1-B928-2096925C9817}"/>
          </ac:spMkLst>
        </pc:spChg>
        <pc:spChg chg="add mod">
          <ac:chgData name="zur bonsen georg" userId="5444515566c7376a" providerId="LiveId" clId="{18CD7E6B-2C8E-405B-A237-843B9FC9D457}" dt="2022-04-24T19:38:34.478" v="12574" actId="14100"/>
          <ac:spMkLst>
            <pc:docMk/>
            <pc:sldMk cId="3613540113" sldId="517"/>
            <ac:spMk id="101" creationId="{857F6BC8-F97F-4DF2-9710-CCE72C17FD42}"/>
          </ac:spMkLst>
        </pc:spChg>
        <pc:spChg chg="add mod">
          <ac:chgData name="zur bonsen georg" userId="5444515566c7376a" providerId="LiveId" clId="{18CD7E6B-2C8E-405B-A237-843B9FC9D457}" dt="2022-04-24T19:41:43.795" v="12845" actId="114"/>
          <ac:spMkLst>
            <pc:docMk/>
            <pc:sldMk cId="3613540113" sldId="517"/>
            <ac:spMk id="103" creationId="{79AFE7B5-2FAB-45B7-B996-465ABDB73428}"/>
          </ac:spMkLst>
        </pc:spChg>
        <pc:spChg chg="add mod">
          <ac:chgData name="zur bonsen georg" userId="5444515566c7376a" providerId="LiveId" clId="{18CD7E6B-2C8E-405B-A237-843B9FC9D457}" dt="2022-04-24T19:38:34.478" v="12574" actId="14100"/>
          <ac:spMkLst>
            <pc:docMk/>
            <pc:sldMk cId="3613540113" sldId="517"/>
            <ac:spMk id="104" creationId="{FEC42A58-273E-4921-BDBA-B5CB54876BB3}"/>
          </ac:spMkLst>
        </pc:spChg>
        <pc:spChg chg="add mod">
          <ac:chgData name="zur bonsen georg" userId="5444515566c7376a" providerId="LiveId" clId="{18CD7E6B-2C8E-405B-A237-843B9FC9D457}" dt="2022-04-24T19:31:45.409" v="12337" actId="3064"/>
          <ac:spMkLst>
            <pc:docMk/>
            <pc:sldMk cId="3613540113" sldId="517"/>
            <ac:spMk id="105" creationId="{2293924F-1FFC-4CA9-ACDA-5F7EA62908A7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106" creationId="{569443BF-A519-4247-9C59-73E0C648B534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107" creationId="{CB76399E-FA26-4202-AA89-BBF7B05A8091}"/>
          </ac:spMkLst>
        </pc:spChg>
        <pc:spChg chg="add mod">
          <ac:chgData name="zur bonsen georg" userId="5444515566c7376a" providerId="LiveId" clId="{18CD7E6B-2C8E-405B-A237-843B9FC9D457}" dt="2022-04-24T19:31:55.352" v="12340" actId="1035"/>
          <ac:spMkLst>
            <pc:docMk/>
            <pc:sldMk cId="3613540113" sldId="517"/>
            <ac:spMk id="109" creationId="{7013077E-0D0C-4E03-A47C-7727672C9DBA}"/>
          </ac:spMkLst>
        </pc:spChg>
        <pc:spChg chg="add mod">
          <ac:chgData name="zur bonsen georg" userId="5444515566c7376a" providerId="LiveId" clId="{18CD7E6B-2C8E-405B-A237-843B9FC9D457}" dt="2022-04-24T19:41:20.298" v="12844" actId="6549"/>
          <ac:spMkLst>
            <pc:docMk/>
            <pc:sldMk cId="3613540113" sldId="517"/>
            <ac:spMk id="110" creationId="{D253F267-7749-4833-85B3-CE312535C694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111" creationId="{0E212DA4-1DC8-441E-A4AE-E36E7513D353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2" creationId="{A0C5CA70-B1E2-415B-A1CC-5A05A2FFC509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3" creationId="{7FC65303-C83E-42EB-8AD9-842EEA94121F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4" creationId="{6BD7CA6C-BDAF-4520-9088-EB8D4799AFE1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5" creationId="{07B0E6BF-40BE-4E63-A0B1-48BD47E1A164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16" creationId="{A789FA78-F0CE-4368-85B8-69C621CE13F6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7" creationId="{286446C3-008A-4668-A3A3-1A7CB4A22F42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18" creationId="{462EC032-A5A4-46ED-A02C-E59ADEE95410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19" creationId="{0C92636E-79B5-476E-9DFE-4D8F7042E835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20" creationId="{0ED89430-8BC4-4BE0-8316-A2A98DEFA25B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1" creationId="{03BC9655-F5FD-440E-959D-F56B6B32951D}"/>
          </ac:spMkLst>
        </pc:spChg>
        <pc:spChg chg="add del mod">
          <ac:chgData name="zur bonsen georg" userId="5444515566c7376a" providerId="LiveId" clId="{18CD7E6B-2C8E-405B-A237-843B9FC9D457}" dt="2022-04-24T18:19:24.697" v="11540" actId="478"/>
          <ac:spMkLst>
            <pc:docMk/>
            <pc:sldMk cId="3613540113" sldId="517"/>
            <ac:spMk id="122" creationId="{2BFE41F5-24AC-4FD3-A87C-9EFCC92F4CAC}"/>
          </ac:spMkLst>
        </pc:spChg>
        <pc:spChg chg="add del mod">
          <ac:chgData name="zur bonsen georg" userId="5444515566c7376a" providerId="LiveId" clId="{18CD7E6B-2C8E-405B-A237-843B9FC9D457}" dt="2022-04-24T18:19:22.021" v="11539" actId="478"/>
          <ac:spMkLst>
            <pc:docMk/>
            <pc:sldMk cId="3613540113" sldId="517"/>
            <ac:spMk id="123" creationId="{9521B95A-A6ED-45D9-9730-6ACD2815FDCA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4" creationId="{15F960E5-E2ED-434B-AB5A-3AC5F70F4679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5" creationId="{53607AE4-33E1-487E-B5EF-B34F216A59B1}"/>
          </ac:spMkLst>
        </pc:spChg>
        <pc:spChg chg="add mod">
          <ac:chgData name="zur bonsen georg" userId="5444515566c7376a" providerId="LiveId" clId="{18CD7E6B-2C8E-405B-A237-843B9FC9D457}" dt="2022-04-24T19:35:32.519" v="12508" actId="1035"/>
          <ac:spMkLst>
            <pc:docMk/>
            <pc:sldMk cId="3613540113" sldId="517"/>
            <ac:spMk id="126" creationId="{E7AE17C7-355C-4977-B5E5-0A3CB3BF34E3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7" creationId="{6FC6AD87-0A94-49DF-9B70-55103B70F884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8" creationId="{52AF3196-AF46-479C-AB9C-3CCCC02DF404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9" creationId="{664B5EB9-D1B1-4781-8B9F-DE711926743C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30" creationId="{66E235CC-E737-4AF1-AED3-DF9A28195D4D}"/>
          </ac:spMkLst>
        </pc:spChg>
        <pc:spChg chg="add mod">
          <ac:chgData name="zur bonsen georg" userId="5444515566c7376a" providerId="LiveId" clId="{18CD7E6B-2C8E-405B-A237-843B9FC9D457}" dt="2022-04-24T19:37:15.407" v="12548" actId="1035"/>
          <ac:spMkLst>
            <pc:docMk/>
            <pc:sldMk cId="3613540113" sldId="517"/>
            <ac:spMk id="131" creationId="{86674185-551B-4EBF-AD25-791BE31328D9}"/>
          </ac:spMkLst>
        </pc:spChg>
        <pc:spChg chg="add mod">
          <ac:chgData name="zur bonsen georg" userId="5444515566c7376a" providerId="LiveId" clId="{18CD7E6B-2C8E-405B-A237-843B9FC9D457}" dt="2022-04-24T19:37:12.007" v="12547" actId="14100"/>
          <ac:spMkLst>
            <pc:docMk/>
            <pc:sldMk cId="3613540113" sldId="517"/>
            <ac:spMk id="132" creationId="{4F7391EF-7FF2-45F3-A787-211B1402DFEA}"/>
          </ac:spMkLst>
        </pc:spChg>
        <pc:spChg chg="add mod">
          <ac:chgData name="zur bonsen georg" userId="5444515566c7376a" providerId="LiveId" clId="{18CD7E6B-2C8E-405B-A237-843B9FC9D457}" dt="2022-04-24T19:37:17.584" v="12549" actId="1035"/>
          <ac:spMkLst>
            <pc:docMk/>
            <pc:sldMk cId="3613540113" sldId="517"/>
            <ac:spMk id="133" creationId="{7500411B-2F12-4268-A9EB-494D30033C31}"/>
          </ac:spMkLst>
        </pc:spChg>
        <pc:spChg chg="add mod">
          <ac:chgData name="zur bonsen georg" userId="5444515566c7376a" providerId="LiveId" clId="{18CD7E6B-2C8E-405B-A237-843B9FC9D457}" dt="2022-04-24T19:37:19.392" v="12550" actId="1035"/>
          <ac:spMkLst>
            <pc:docMk/>
            <pc:sldMk cId="3613540113" sldId="517"/>
            <ac:spMk id="134" creationId="{3CDF3E06-5EEC-4DB9-A4C6-586AD58DC7C9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35" creationId="{5FC280AD-1F25-4164-9E1F-205D0794CD27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36" creationId="{77551AC2-6B8E-4C0F-8797-CC45560EFF21}"/>
          </ac:spMkLst>
        </pc:spChg>
        <pc:spChg chg="add mod">
          <ac:chgData name="zur bonsen georg" userId="5444515566c7376a" providerId="LiveId" clId="{18CD7E6B-2C8E-405B-A237-843B9FC9D457}" dt="2022-04-24T19:36:49.738" v="12543" actId="14100"/>
          <ac:spMkLst>
            <pc:docMk/>
            <pc:sldMk cId="3613540113" sldId="517"/>
            <ac:spMk id="137" creationId="{1FEB9D5D-B435-47F5-8BAC-4522C256C21E}"/>
          </ac:spMkLst>
        </pc:spChg>
        <pc:spChg chg="add mod">
          <ac:chgData name="zur bonsen georg" userId="5444515566c7376a" providerId="LiveId" clId="{18CD7E6B-2C8E-405B-A237-843B9FC9D457}" dt="2022-04-24T19:32:41.397" v="12411" actId="122"/>
          <ac:spMkLst>
            <pc:docMk/>
            <pc:sldMk cId="3613540113" sldId="517"/>
            <ac:spMk id="138" creationId="{AC7B4E1E-5B7B-4BA5-B8F0-7A81C67BC828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39" creationId="{95ADC085-2DC5-4678-89CA-9818B81AF463}"/>
          </ac:spMkLst>
        </pc:spChg>
        <pc:spChg chg="add mod">
          <ac:chgData name="zur bonsen georg" userId="5444515566c7376a" providerId="LiveId" clId="{18CD7E6B-2C8E-405B-A237-843B9FC9D457}" dt="2022-04-24T19:40:03.883" v="12677" actId="1036"/>
          <ac:spMkLst>
            <pc:docMk/>
            <pc:sldMk cId="3613540113" sldId="517"/>
            <ac:spMk id="140" creationId="{F61C16DB-80F9-4B61-981D-2B4320A3A0DC}"/>
          </ac:spMkLst>
        </pc:spChg>
        <pc:spChg chg="add mod">
          <ac:chgData name="zur bonsen georg" userId="5444515566c7376a" providerId="LiveId" clId="{18CD7E6B-2C8E-405B-A237-843B9FC9D457}" dt="2022-04-24T19:39:59.781" v="12639" actId="14100"/>
          <ac:spMkLst>
            <pc:docMk/>
            <pc:sldMk cId="3613540113" sldId="517"/>
            <ac:spMk id="141" creationId="{32BE120D-3045-4462-8DE4-38EAFDB2F6D3}"/>
          </ac:spMkLst>
        </pc:spChg>
        <pc:spChg chg="add mod">
          <ac:chgData name="zur bonsen georg" userId="5444515566c7376a" providerId="LiveId" clId="{18CD7E6B-2C8E-405B-A237-843B9FC9D457}" dt="2022-04-24T19:37:24.484" v="12551" actId="14100"/>
          <ac:spMkLst>
            <pc:docMk/>
            <pc:sldMk cId="3613540113" sldId="517"/>
            <ac:spMk id="142" creationId="{70DC3E93-A1DB-41B8-BBC5-831CFAC38B7B}"/>
          </ac:spMkLst>
        </pc:spChg>
        <pc:spChg chg="add mod">
          <ac:chgData name="zur bonsen georg" userId="5444515566c7376a" providerId="LiveId" clId="{18CD7E6B-2C8E-405B-A237-843B9FC9D457}" dt="2022-04-24T19:37:27.517" v="12555" actId="1035"/>
          <ac:spMkLst>
            <pc:docMk/>
            <pc:sldMk cId="3613540113" sldId="517"/>
            <ac:spMk id="143" creationId="{1CB939A9-FD43-4646-B5C4-15FDE88BF907}"/>
          </ac:spMkLst>
        </pc:spChg>
        <pc:spChg chg="add mod">
          <ac:chgData name="zur bonsen georg" userId="5444515566c7376a" providerId="LiveId" clId="{18CD7E6B-2C8E-405B-A237-843B9FC9D457}" dt="2022-04-24T19:37:27.517" v="12555" actId="1035"/>
          <ac:spMkLst>
            <pc:docMk/>
            <pc:sldMk cId="3613540113" sldId="517"/>
            <ac:spMk id="144" creationId="{941A02E5-EF2F-4475-BF2C-129AEE8B6E62}"/>
          </ac:spMkLst>
        </pc:spChg>
        <pc:spChg chg="add del mod">
          <ac:chgData name="zur bonsen georg" userId="5444515566c7376a" providerId="LiveId" clId="{18CD7E6B-2C8E-405B-A237-843B9FC9D457}" dt="2022-04-24T19:39:16.165" v="12602" actId="478"/>
          <ac:spMkLst>
            <pc:docMk/>
            <pc:sldMk cId="3613540113" sldId="517"/>
            <ac:spMk id="145" creationId="{DBEA787C-B8C7-4BE1-86D5-1A6F7633C47D}"/>
          </ac:spMkLst>
        </pc:spChg>
        <pc:spChg chg="add mod">
          <ac:chgData name="zur bonsen georg" userId="5444515566c7376a" providerId="LiveId" clId="{18CD7E6B-2C8E-405B-A237-843B9FC9D457}" dt="2022-04-24T19:40:40.346" v="12768" actId="14100"/>
          <ac:spMkLst>
            <pc:docMk/>
            <pc:sldMk cId="3613540113" sldId="517"/>
            <ac:spMk id="146" creationId="{90CA9FC4-F5F0-4562-A436-935C389A3F88}"/>
          </ac:spMkLst>
        </pc:spChg>
        <pc:spChg chg="add mod">
          <ac:chgData name="zur bonsen georg" userId="5444515566c7376a" providerId="LiveId" clId="{18CD7E6B-2C8E-405B-A237-843B9FC9D457}" dt="2022-04-24T19:41:04.928" v="12843" actId="20577"/>
          <ac:spMkLst>
            <pc:docMk/>
            <pc:sldMk cId="3613540113" sldId="517"/>
            <ac:spMk id="147" creationId="{5F92431B-D8F5-48B3-BAEF-513C7191DFC2}"/>
          </ac:spMkLst>
        </pc:spChg>
        <pc:grpChg chg="del">
          <ac:chgData name="zur bonsen georg" userId="5444515566c7376a" providerId="LiveId" clId="{18CD7E6B-2C8E-405B-A237-843B9FC9D457}" dt="2022-04-24T18:10:50.091" v="11160" actId="478"/>
          <ac:grpSpMkLst>
            <pc:docMk/>
            <pc:sldMk cId="3613540113" sldId="517"/>
            <ac:grpSpMk id="108" creationId="{23A4939E-7A11-4DE4-ABA5-4A699BA25ED4}"/>
          </ac:grpSpMkLst>
        </pc:grpChg>
        <pc:cxnChg chg="del">
          <ac:chgData name="zur bonsen georg" userId="5444515566c7376a" providerId="LiveId" clId="{18CD7E6B-2C8E-405B-A237-843B9FC9D457}" dt="2022-04-24T18:10:50.091" v="11160" actId="478"/>
          <ac:cxnSpMkLst>
            <pc:docMk/>
            <pc:sldMk cId="3613540113" sldId="517"/>
            <ac:cxnSpMk id="49" creationId="{48D66365-D37C-45BC-B23E-71F347D01CAC}"/>
          </ac:cxnSpMkLst>
        </pc:cxnChg>
        <pc:cxnChg chg="del">
          <ac:chgData name="zur bonsen georg" userId="5444515566c7376a" providerId="LiveId" clId="{18CD7E6B-2C8E-405B-A237-843B9FC9D457}" dt="2022-04-24T18:10:50.091" v="11160" actId="478"/>
          <ac:cxnSpMkLst>
            <pc:docMk/>
            <pc:sldMk cId="3613540113" sldId="517"/>
            <ac:cxnSpMk id="50" creationId="{12BC7B7F-E63B-4202-8BD1-D3D2BB179550}"/>
          </ac:cxnSpMkLst>
        </pc:cxnChg>
        <pc:cxnChg chg="del">
          <ac:chgData name="zur bonsen georg" userId="5444515566c7376a" providerId="LiveId" clId="{18CD7E6B-2C8E-405B-A237-843B9FC9D457}" dt="2022-04-24T18:10:50.091" v="11160" actId="478"/>
          <ac:cxnSpMkLst>
            <pc:docMk/>
            <pc:sldMk cId="3613540113" sldId="517"/>
            <ac:cxnSpMk id="51" creationId="{902CA58C-AA75-4D07-838F-11799D28965F}"/>
          </ac:cxnSpMkLst>
        </pc:cxnChg>
        <pc:cxnChg chg="del">
          <ac:chgData name="zur bonsen georg" userId="5444515566c7376a" providerId="LiveId" clId="{18CD7E6B-2C8E-405B-A237-843B9FC9D457}" dt="2022-04-24T18:10:50.091" v="11160" actId="478"/>
          <ac:cxnSpMkLst>
            <pc:docMk/>
            <pc:sldMk cId="3613540113" sldId="517"/>
            <ac:cxnSpMk id="102" creationId="{9790E2B3-7045-4D08-9FC1-D3E037BECFC0}"/>
          </ac:cxnSpMkLst>
        </pc:cxnChg>
      </pc:sldChg>
    </pc:docChg>
  </pc:docChgLst>
  <pc:docChgLst>
    <pc:chgData name="zur bonsen georg" userId="5444515566c7376a" providerId="LiveId" clId="{EE8043E9-5C9D-48E2-83BC-322B6217B78C}"/>
    <pc:docChg chg="undo redo custSel addSld modSld">
      <pc:chgData name="zur bonsen georg" userId="5444515566c7376a" providerId="LiveId" clId="{EE8043E9-5C9D-48E2-83BC-322B6217B78C}" dt="2022-02-28T22:07:28.731" v="5765" actId="20577"/>
      <pc:docMkLst>
        <pc:docMk/>
      </pc:docMkLst>
      <pc:sldChg chg="addSp delSp modSp add mod">
        <pc:chgData name="zur bonsen georg" userId="5444515566c7376a" providerId="LiveId" clId="{EE8043E9-5C9D-48E2-83BC-322B6217B78C}" dt="2022-02-15T21:48:47.364" v="2199" actId="20577"/>
        <pc:sldMkLst>
          <pc:docMk/>
          <pc:sldMk cId="1633327501" sldId="505"/>
        </pc:sldMkLst>
        <pc:spChg chg="mod">
          <ac:chgData name="zur bonsen georg" userId="5444515566c7376a" providerId="LiveId" clId="{EE8043E9-5C9D-48E2-83BC-322B6217B78C}" dt="2022-02-15T19:53:41.494" v="2"/>
          <ac:spMkLst>
            <pc:docMk/>
            <pc:sldMk cId="1633327501" sldId="505"/>
            <ac:spMk id="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3" creationId="{7011C260-45CE-4CFC-8530-995A0325DA9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4" creationId="{8E4C74E5-5692-4912-BCA0-1A0A2061BBB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" creationId="{3F8FD71A-F90B-4DDF-BBA1-ACD3418FF18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" creationId="{CF7AB2FD-67BE-4774-85F9-39994E807F0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" creationId="{35A20C4E-6BB6-42A4-9069-1CF3CB97355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" creationId="{163BBBEF-5A24-43D9-B509-319F2D37F41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" creationId="{5A9423C9-B3BD-4FAD-B8F0-2669F8CFFB2F}"/>
          </ac:spMkLst>
        </pc:spChg>
        <pc:spChg chg="add del mod">
          <ac:chgData name="zur bonsen georg" userId="5444515566c7376a" providerId="LiveId" clId="{EE8043E9-5C9D-48E2-83BC-322B6217B78C}" dt="2022-02-15T21:22:46.032" v="1716" actId="478"/>
          <ac:spMkLst>
            <pc:docMk/>
            <pc:sldMk cId="1633327501" sldId="505"/>
            <ac:spMk id="18" creationId="{F36492ED-2FD4-40D3-B5B8-C501DA94919C}"/>
          </ac:spMkLst>
        </pc:spChg>
        <pc:spChg chg="add del mod">
          <ac:chgData name="zur bonsen georg" userId="5444515566c7376a" providerId="LiveId" clId="{EE8043E9-5C9D-48E2-83BC-322B6217B78C}" dt="2022-02-15T20:20:25.039" v="1310" actId="478"/>
          <ac:spMkLst>
            <pc:docMk/>
            <pc:sldMk cId="1633327501" sldId="505"/>
            <ac:spMk id="19" creationId="{E596BB12-E28B-4F9F-ADD6-A98C3F6B8562}"/>
          </ac:spMkLst>
        </pc:spChg>
        <pc:spChg chg="add del mod">
          <ac:chgData name="zur bonsen georg" userId="5444515566c7376a" providerId="LiveId" clId="{EE8043E9-5C9D-48E2-83BC-322B6217B78C}" dt="2022-02-15T20:20:25.039" v="1310" actId="478"/>
          <ac:spMkLst>
            <pc:docMk/>
            <pc:sldMk cId="1633327501" sldId="505"/>
            <ac:spMk id="20" creationId="{29E308EB-D097-4013-84C6-667F19744C3B}"/>
          </ac:spMkLst>
        </pc:spChg>
        <pc:spChg chg="add del mod">
          <ac:chgData name="zur bonsen georg" userId="5444515566c7376a" providerId="LiveId" clId="{EE8043E9-5C9D-48E2-83BC-322B6217B78C}" dt="2022-02-15T21:26:52.543" v="1795" actId="478"/>
          <ac:spMkLst>
            <pc:docMk/>
            <pc:sldMk cId="1633327501" sldId="505"/>
            <ac:spMk id="21" creationId="{A4502F28-7274-41D5-86EA-E953DD88836C}"/>
          </ac:spMkLst>
        </pc:spChg>
        <pc:spChg chg="add del mod">
          <ac:chgData name="zur bonsen georg" userId="5444515566c7376a" providerId="LiveId" clId="{EE8043E9-5C9D-48E2-83BC-322B6217B78C}" dt="2022-02-15T21:23:09.836" v="1722" actId="478"/>
          <ac:spMkLst>
            <pc:docMk/>
            <pc:sldMk cId="1633327501" sldId="505"/>
            <ac:spMk id="22" creationId="{535F29AE-2DCB-4D31-B6B7-2B48CE9C3154}"/>
          </ac:spMkLst>
        </pc:spChg>
        <pc:spChg chg="add del">
          <ac:chgData name="zur bonsen georg" userId="5444515566c7376a" providerId="LiveId" clId="{EE8043E9-5C9D-48E2-83BC-322B6217B78C}" dt="2022-02-15T20:19:38.110" v="1303" actId="478"/>
          <ac:spMkLst>
            <pc:docMk/>
            <pc:sldMk cId="1633327501" sldId="505"/>
            <ac:spMk id="23" creationId="{A8ADDDC5-3A95-44AA-9047-0A541C1ACC4D}"/>
          </ac:spMkLst>
        </pc:spChg>
        <pc:spChg chg="add del mod">
          <ac:chgData name="zur bonsen georg" userId="5444515566c7376a" providerId="LiveId" clId="{EE8043E9-5C9D-48E2-83BC-322B6217B78C}" dt="2022-02-15T20:31:42.129" v="1575" actId="478"/>
          <ac:spMkLst>
            <pc:docMk/>
            <pc:sldMk cId="1633327501" sldId="505"/>
            <ac:spMk id="24" creationId="{17BB6B2B-8BAA-4208-AA08-70A82F9AF472}"/>
          </ac:spMkLst>
        </pc:spChg>
        <pc:spChg chg="add del mod">
          <ac:chgData name="zur bonsen georg" userId="5444515566c7376a" providerId="LiveId" clId="{EE8043E9-5C9D-48E2-83BC-322B6217B78C}" dt="2022-02-15T20:31:42.129" v="1575" actId="478"/>
          <ac:spMkLst>
            <pc:docMk/>
            <pc:sldMk cId="1633327501" sldId="505"/>
            <ac:spMk id="25" creationId="{39960A05-0792-4EA9-B2C0-6A62C57FE4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54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55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63" creationId="{422BC97E-E859-423E-BA44-FEB10128B0B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64" creationId="{18389487-316E-4B45-803A-A019D98985E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1" creationId="{B44D7697-07FC-4033-BDD5-782F55FD7A8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4" creationId="{6EDD713C-8F52-4616-94B6-5DED0E9BE5E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8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9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1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2" creationId="{A8B8204D-6807-4139-BD5E-68AACF7383A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7" creationId="{7E7F6AF2-7B5B-4F19-B572-3F8271C6ADA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8" creationId="{67C684D8-C2C7-47D6-846C-59D75D45225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0" creationId="{EA9B15D1-F70F-4AB2-ABC6-7D7C66E313C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2" creationId="{8D6850DD-C165-4E9F-8410-CF4658B0CFA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3" creationId="{ECA6964E-083E-40C6-9B3D-F697E70E5FC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9" creationId="{40068BAE-E977-408D-80E1-BF0D9A7442B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3" creationId="{5A6B0903-18DD-45AF-8DF9-E9F90E77E0E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4" creationId="{F48B7337-446A-4555-B747-1B05DF7F8C3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5" creationId="{0E13AEF1-AD65-4710-867C-789271CA0087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6" creationId="{70602F90-F9D5-480D-A4FE-FDA8AAF8EEF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7" creationId="{BF944748-D1D0-448B-B6BF-1C0D53E9D34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8" creationId="{00016715-3018-46BC-BA97-920546BE359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9" creationId="{75AF786D-D88B-4BB9-830A-CEB83178E4A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13" creationId="{0C1F8C0D-2E9C-43F5-9ADC-6A34CEF6095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14" creationId="{C9CA10C5-EE4F-4314-A977-71A14CFF0F6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5" creationId="{953F5C71-BA3F-4C6B-9F22-CCF7CD5F60E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6" creationId="{DD9D410B-CA11-4F8A-82EF-E6302FE7082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7" creationId="{7B1A0532-641B-432F-AC78-D26EBDE590D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8" creationId="{E3578767-720C-42B4-8B3B-618790C4895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9" creationId="{5FB81284-2653-4D9B-BB00-78BD8C49949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0" creationId="{EDC6EC82-E7E8-495E-BF8D-F721D672728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1" creationId="{0B05B034-21F3-44C1-8829-8E6C5C57DA18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5" creationId="{99F8F1B8-CA33-4744-A553-C9020DF4B49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6" creationId="{96BB143E-3CE9-4FD3-9248-74E425E360BA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7" creationId="{CDEC658E-531A-4C8A-9569-7908FED8AFE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8" creationId="{5305FE60-CC17-496F-BF98-2AF23BFEB18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9" creationId="{64E2FC92-327C-4EBA-8FEA-2F1172B3F0B5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0" creationId="{2DB3F4AD-749E-4C98-81F8-B9A5342615AD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1" creationId="{D3C488EA-FC9F-45BD-9C93-328D060372D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2" creationId="{619392C3-49BE-45A3-9B25-E088B0ED8A38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3" creationId="{CCE5845E-A241-46D3-B17E-598461453A33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4" creationId="{0D8DCB63-BA46-4729-8D70-7CCDAA32A8D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5" creationId="{6D3162FB-403A-4ABA-AB63-46D62012259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6" creationId="{DB635478-6542-4A86-989D-B5A70E05997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7" creationId="{7A2CAB94-9B21-47A6-BEC0-23238C3158A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8" creationId="{C6F30CEC-AEEC-458E-AE87-70A334ADAEF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9" creationId="{4C5B8375-1EA5-44B0-8C1D-E3109BF00C71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40" creationId="{80A94639-7604-4E25-A397-C9190370214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1" creationId="{111852E9-11AF-4917-8D8E-E2937C3BCDE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2" creationId="{20A62F8A-A0C4-4506-8F3D-077C7F78332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3" creationId="{69E93157-6E15-4A22-B53A-D81F5ED9EB7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44" creationId="{C74B181E-2FCC-45C5-9A69-E54223D75F2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5" creationId="{2F9A3FCC-E5AF-4EDE-89EE-FCB1D941D9D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6" creationId="{3BE4E10E-4288-4F17-82D6-500BBFD3556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7" creationId="{A921F432-A159-421C-86B1-0CDEE36A910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8" creationId="{9B700E25-7A82-499F-B5EC-3DA4FEB1B5E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9" creationId="{90BACD2A-9571-4589-B6FC-D267DABB7E2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0" creationId="{98C3D945-A17E-4D29-AF38-62C2A438FF6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1" creationId="{D2A37FBC-F35B-483F-9C21-1B94068AB16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2" creationId="{C03D292F-738D-41AE-B417-679630C4DF0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3" creationId="{E5E27AD1-51AF-456C-8362-AB8D821E5C9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4" creationId="{B0A4C36A-E8F3-4B83-B963-CFBA4CBF74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8" creationId="{998BCDA0-F84E-4B45-A8BE-A0EC2ABAF00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9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0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1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2" creationId="{F96D71AD-8946-4486-A2FB-B845F307A7D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4" creationId="{96EECC82-E343-4468-84AB-9C7BBB7E23B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5" creationId="{82DBD61F-8DBA-4FAF-AC10-86BE1ED3032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6" creationId="{5BFA0279-CA5A-4474-82FD-9FE43EA7A4E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7" creationId="{61A6D35C-1B7C-4688-9EB7-108DEBD563A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8" creationId="{5149C8AF-2D23-429B-9F30-54B8F50E9DD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9" creationId="{B45E4A85-4484-4AD7-A7A7-5DACAD1545D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0" creationId="{B8A164BC-7F60-43EA-A451-E0BF13B38F8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1" creationId="{9D886BC5-31B3-4F59-92C2-663FD87BB04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2" creationId="{5219957C-1DFE-4A72-AC78-538BC70D09B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3" creationId="{1957F7D2-79E4-4B6A-9B01-0B9C0800A22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74" creationId="{C20F729E-1AFA-46DC-B38B-A1F36BAA183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5" creationId="{0C805F3A-B7D9-418E-8BC5-CBA3F5B3C84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7" creationId="{2831A858-DBF9-49A8-90DB-C04D057608D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9" creationId="{45351750-AA90-446B-A6A0-4A892C41E03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0" creationId="{498512E8-F2EE-4D9B-B52C-8E6D8EADC7C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1" creationId="{ADCE9F79-0373-4FD9-B36E-8DD0F3A815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2" creationId="{20788141-6AC5-48C8-B5AE-6A40A351A9C6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3" creationId="{D7D64DD9-E1B3-48A2-8E5E-0C9DB27F2DE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5" creationId="{3E6FA744-CE8F-469A-9F6C-52789161A1D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6" creationId="{53299677-3D1C-430A-83DE-83AE2EF706D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7" creationId="{643A480D-E73D-462A-986C-52FEE163B67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8" creationId="{CA302A4C-9812-46FB-BCF9-5EDB131BD8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91" creationId="{2F6F4912-E144-4E62-8EBE-9FD52E2CD54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3" creationId="{2CA9A344-3694-4653-A5FD-F03C45F841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94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5" creationId="{41326B73-D94C-4816-BDA3-BD92002C02E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6" creationId="{AD2D45C8-D887-4B84-9A03-2431CDC126DD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7" creationId="{1F68C113-A543-47BD-BCC6-EA0067064B5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8" creationId="{2FB14643-7EEB-4F5E-B262-8F1FA53F0B0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9" creationId="{0EEF3326-EFD4-4EF4-9C02-BDCF4918279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3" creationId="{0E7811C6-94E5-4256-BC23-377F9CA666B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4" creationId="{09344DD6-262C-4554-90FC-FD0F5305EAC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5" creationId="{1F58BD2A-AFCE-43FA-89B8-D0DBAADF2E6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6" creationId="{A1C958C0-66BF-4275-99D0-DA439BEBFD9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7" creationId="{84B2786C-6333-46A9-AAE8-3D00063A809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8" creationId="{8A34F286-07A1-444C-9F48-94B9E174D53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1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13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15" creationId="{B55099C8-FB8C-4DCF-A614-3BAE4EE85062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18" creationId="{2743CDF9-3743-4377-9083-A9EBC3CE6164}"/>
          </ac:spMkLst>
        </pc:spChg>
        <pc:spChg chg="add mod">
          <ac:chgData name="zur bonsen georg" userId="5444515566c7376a" providerId="LiveId" clId="{EE8043E9-5C9D-48E2-83BC-322B6217B78C}" dt="2022-02-15T21:29:52.429" v="1809" actId="313"/>
          <ac:spMkLst>
            <pc:docMk/>
            <pc:sldMk cId="1633327501" sldId="505"/>
            <ac:spMk id="220" creationId="{7741CC60-AEE3-4976-A21D-4A0C78373F1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3" creationId="{00000000-0000-0000-0000-000000000000}"/>
          </ac:spMkLst>
        </pc:spChg>
        <pc:spChg chg="add mod">
          <ac:chgData name="zur bonsen georg" userId="5444515566c7376a" providerId="LiveId" clId="{EE8043E9-5C9D-48E2-83BC-322B6217B78C}" dt="2022-02-15T21:31:24.050" v="1829" actId="20577"/>
          <ac:spMkLst>
            <pc:docMk/>
            <pc:sldMk cId="1633327501" sldId="505"/>
            <ac:spMk id="225" creationId="{615E0C81-37C6-42DD-B563-19B249406534}"/>
          </ac:spMkLst>
        </pc:spChg>
        <pc:spChg chg="add del mod">
          <ac:chgData name="zur bonsen georg" userId="5444515566c7376a" providerId="LiveId" clId="{EE8043E9-5C9D-48E2-83BC-322B6217B78C}" dt="2022-02-15T19:56:13.379" v="66" actId="478"/>
          <ac:spMkLst>
            <pc:docMk/>
            <pc:sldMk cId="1633327501" sldId="505"/>
            <ac:spMk id="226" creationId="{5F19C497-5F9E-4000-A6B3-9DD036D7243D}"/>
          </ac:spMkLst>
        </pc:spChg>
        <pc:spChg chg="add mod or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27" creationId="{79322FA6-C068-44D3-95C2-34F1AD4E18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8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19:57:26.795" v="90" actId="478"/>
          <ac:spMkLst>
            <pc:docMk/>
            <pc:sldMk cId="1633327501" sldId="505"/>
            <ac:spMk id="229" creationId="{229AD808-3167-4E1B-A326-D5974BCDF827}"/>
          </ac:spMkLst>
        </pc:spChg>
        <pc:spChg chg="add del mod">
          <ac:chgData name="zur bonsen georg" userId="5444515566c7376a" providerId="LiveId" clId="{EE8043E9-5C9D-48E2-83BC-322B6217B78C}" dt="2022-02-15T19:57:26.795" v="90" actId="478"/>
          <ac:spMkLst>
            <pc:docMk/>
            <pc:sldMk cId="1633327501" sldId="505"/>
            <ac:spMk id="231" creationId="{224EE366-2486-403B-A0B0-7588FE65FC87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2" creationId="{7C276195-FC44-49FF-8CE4-6B525F5068E7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3" creationId="{D87E5F20-95E8-4896-A92D-C21FC52EEDD8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4" creationId="{B9FDAF6F-8473-4FF8-94E7-409ED09F3ACA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35" creationId="{A9663F1E-595A-4296-9EFE-2DE5EDE64D91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36" creationId="{1E823A39-630B-4C8F-8637-CB81158C618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38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39" creationId="{00000000-0000-0000-0000-000000000000}"/>
          </ac:spMkLst>
        </pc:spChg>
        <pc:spChg chg="add mod">
          <ac:chgData name="zur bonsen georg" userId="5444515566c7376a" providerId="LiveId" clId="{EE8043E9-5C9D-48E2-83BC-322B6217B78C}" dt="2022-02-15T21:29:53.113" v="1810" actId="313"/>
          <ac:spMkLst>
            <pc:docMk/>
            <pc:sldMk cId="1633327501" sldId="505"/>
            <ac:spMk id="240" creationId="{96862925-6454-43FD-B0F6-098F8AFBFA34}"/>
          </ac:spMkLst>
        </pc:spChg>
        <pc:spChg chg="add mod">
          <ac:chgData name="zur bonsen georg" userId="5444515566c7376a" providerId="LiveId" clId="{EE8043E9-5C9D-48E2-83BC-322B6217B78C}" dt="2022-02-15T21:31:30.677" v="1833" actId="20577"/>
          <ac:spMkLst>
            <pc:docMk/>
            <pc:sldMk cId="1633327501" sldId="505"/>
            <ac:spMk id="243" creationId="{E36522DB-DBC3-4F57-9EE9-31302A9585EA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4" creationId="{A3CF62A9-AE23-45BB-BEEE-E4503C9023F4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5" creationId="{60CCA959-4008-4005-8323-3A48B9E8DAD2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6" creationId="{9B9604F6-5805-456C-9DCE-09F80792EFF4}"/>
          </ac:spMkLst>
        </pc:spChg>
        <pc:spChg chg="add mod">
          <ac:chgData name="zur bonsen georg" userId="5444515566c7376a" providerId="LiveId" clId="{EE8043E9-5C9D-48E2-83BC-322B6217B78C}" dt="2022-02-15T21:21:28.226" v="1659" actId="1036"/>
          <ac:spMkLst>
            <pc:docMk/>
            <pc:sldMk cId="1633327501" sldId="505"/>
            <ac:spMk id="247" creationId="{FBAF8D4C-D429-4E51-9E74-4CAB70FABBE9}"/>
          </ac:spMkLst>
        </pc:spChg>
        <pc:spChg chg="add mod">
          <ac:chgData name="zur bonsen georg" userId="5444515566c7376a" providerId="LiveId" clId="{EE8043E9-5C9D-48E2-83BC-322B6217B78C}" dt="2022-02-15T21:31:07.066" v="1821" actId="1076"/>
          <ac:spMkLst>
            <pc:docMk/>
            <pc:sldMk cId="1633327501" sldId="505"/>
            <ac:spMk id="248" creationId="{3AE5EAC8-9F57-4D9C-965D-63A125B68119}"/>
          </ac:spMkLst>
        </pc:spChg>
        <pc:spChg chg="add del mod">
          <ac:chgData name="zur bonsen georg" userId="5444515566c7376a" providerId="LiveId" clId="{EE8043E9-5C9D-48E2-83BC-322B6217B78C}" dt="2022-02-15T20:31:29.490" v="1572" actId="478"/>
          <ac:spMkLst>
            <pc:docMk/>
            <pc:sldMk cId="1633327501" sldId="505"/>
            <ac:spMk id="249" creationId="{CAE21374-9CAF-4986-B534-3B51BE3CE9C3}"/>
          </ac:spMkLst>
        </pc:spChg>
        <pc:spChg chg="add del mod">
          <ac:chgData name="zur bonsen georg" userId="5444515566c7376a" providerId="LiveId" clId="{EE8043E9-5C9D-48E2-83BC-322B6217B78C}" dt="2022-02-15T21:20:52.128" v="1628" actId="478"/>
          <ac:spMkLst>
            <pc:docMk/>
            <pc:sldMk cId="1633327501" sldId="505"/>
            <ac:spMk id="250" creationId="{9FD6393B-8EF8-42DD-96AC-63FB37143874}"/>
          </ac:spMkLst>
        </pc:spChg>
        <pc:spChg chg="add del mod">
          <ac:chgData name="zur bonsen georg" userId="5444515566c7376a" providerId="LiveId" clId="{EE8043E9-5C9D-48E2-83BC-322B6217B78C}" dt="2022-02-15T20:31:29.490" v="1572" actId="478"/>
          <ac:spMkLst>
            <pc:docMk/>
            <pc:sldMk cId="1633327501" sldId="505"/>
            <ac:spMk id="251" creationId="{C5D6177B-27CC-45BE-80DC-25DF08BA32C2}"/>
          </ac:spMkLst>
        </pc:spChg>
        <pc:spChg chg="add del mod">
          <ac:chgData name="zur bonsen georg" userId="5444515566c7376a" providerId="LiveId" clId="{EE8043E9-5C9D-48E2-83BC-322B6217B78C}" dt="2022-02-15T21:20:52.128" v="1628" actId="478"/>
          <ac:spMkLst>
            <pc:docMk/>
            <pc:sldMk cId="1633327501" sldId="505"/>
            <ac:spMk id="252" creationId="{690F7A4F-8508-4805-9550-AB9F21B6DD03}"/>
          </ac:spMkLst>
        </pc:spChg>
        <pc:spChg chg="add mod">
          <ac:chgData name="zur bonsen georg" userId="5444515566c7376a" providerId="LiveId" clId="{EE8043E9-5C9D-48E2-83BC-322B6217B78C}" dt="2022-02-15T21:48:47.364" v="2199" actId="20577"/>
          <ac:spMkLst>
            <pc:docMk/>
            <pc:sldMk cId="1633327501" sldId="505"/>
            <ac:spMk id="253" creationId="{1901CE74-2AFC-4D11-9975-63BFECADE02B}"/>
          </ac:spMkLst>
        </pc:spChg>
        <pc:spChg chg="add mod">
          <ac:chgData name="zur bonsen georg" userId="5444515566c7376a" providerId="LiveId" clId="{EE8043E9-5C9D-48E2-83BC-322B6217B78C}" dt="2022-02-15T21:21:39.334" v="1660" actId="1076"/>
          <ac:spMkLst>
            <pc:docMk/>
            <pc:sldMk cId="1633327501" sldId="505"/>
            <ac:spMk id="254" creationId="{895FBFF8-5F63-4650-AF10-690CDDF439F2}"/>
          </ac:spMkLst>
        </pc:spChg>
        <pc:spChg chg="add mod">
          <ac:chgData name="zur bonsen georg" userId="5444515566c7376a" providerId="LiveId" clId="{EE8043E9-5C9D-48E2-83BC-322B6217B78C}" dt="2022-02-15T21:48:45.577" v="2198" actId="20577"/>
          <ac:spMkLst>
            <pc:docMk/>
            <pc:sldMk cId="1633327501" sldId="505"/>
            <ac:spMk id="255" creationId="{ED97300B-7B9A-4B63-B8ED-8179621CF3C8}"/>
          </ac:spMkLst>
        </pc:spChg>
        <pc:spChg chg="add del mod">
          <ac:chgData name="zur bonsen georg" userId="5444515566c7376a" providerId="LiveId" clId="{EE8043E9-5C9D-48E2-83BC-322B6217B78C}" dt="2022-02-15T21:26:55.028" v="1797" actId="478"/>
          <ac:spMkLst>
            <pc:docMk/>
            <pc:sldMk cId="1633327501" sldId="505"/>
            <ac:spMk id="256" creationId="{B4371D29-BE75-4F22-BAFE-320CF9D28CD3}"/>
          </ac:spMkLst>
        </pc:spChg>
        <pc:spChg chg="add del mod">
          <ac:chgData name="zur bonsen georg" userId="5444515566c7376a" providerId="LiveId" clId="{EE8043E9-5C9D-48E2-83BC-322B6217B78C}" dt="2022-02-15T21:26:53.584" v="1796" actId="478"/>
          <ac:spMkLst>
            <pc:docMk/>
            <pc:sldMk cId="1633327501" sldId="505"/>
            <ac:spMk id="257" creationId="{8D4547BA-62C8-4BBF-962B-C893804FBDEC}"/>
          </ac:spMkLst>
        </pc:spChg>
        <pc:spChg chg="add del mod">
          <ac:chgData name="zur bonsen georg" userId="5444515566c7376a" providerId="LiveId" clId="{EE8043E9-5C9D-48E2-83BC-322B6217B78C}" dt="2022-02-15T20:22:14.539" v="1368" actId="478"/>
          <ac:spMkLst>
            <pc:docMk/>
            <pc:sldMk cId="1633327501" sldId="505"/>
            <ac:spMk id="258" creationId="{7CBD5BB9-6CCB-4FB3-A9EF-21BDB58F47FF}"/>
          </ac:spMkLst>
        </pc:spChg>
        <pc:spChg chg="add mod">
          <ac:chgData name="zur bonsen georg" userId="5444515566c7376a" providerId="LiveId" clId="{EE8043E9-5C9D-48E2-83BC-322B6217B78C}" dt="2022-02-15T21:27:12.306" v="1800" actId="1035"/>
          <ac:spMkLst>
            <pc:docMk/>
            <pc:sldMk cId="1633327501" sldId="505"/>
            <ac:spMk id="259" creationId="{10F2ECFF-D7C2-44D8-B783-84410BF0815C}"/>
          </ac:spMkLst>
        </pc:spChg>
        <pc:spChg chg="add mod">
          <ac:chgData name="zur bonsen georg" userId="5444515566c7376a" providerId="LiveId" clId="{EE8043E9-5C9D-48E2-83BC-322B6217B78C}" dt="2022-02-15T21:27:16.794" v="1801" actId="1036"/>
          <ac:spMkLst>
            <pc:docMk/>
            <pc:sldMk cId="1633327501" sldId="505"/>
            <ac:spMk id="260" creationId="{4266DA77-361A-4335-A80E-8782BE71C9B7}"/>
          </ac:spMkLst>
        </pc:spChg>
        <pc:spChg chg="add mod">
          <ac:chgData name="zur bonsen georg" userId="5444515566c7376a" providerId="LiveId" clId="{EE8043E9-5C9D-48E2-83BC-322B6217B78C}" dt="2022-02-15T21:42:17.050" v="2101" actId="1038"/>
          <ac:spMkLst>
            <pc:docMk/>
            <pc:sldMk cId="1633327501" sldId="505"/>
            <ac:spMk id="261" creationId="{2C20A403-F1D4-44DB-A3C6-ACB25EE28C00}"/>
          </ac:spMkLst>
        </pc:spChg>
        <pc:spChg chg="add mod">
          <ac:chgData name="zur bonsen georg" userId="5444515566c7376a" providerId="LiveId" clId="{EE8043E9-5C9D-48E2-83BC-322B6217B78C}" dt="2022-02-15T21:46:22.740" v="2167" actId="14100"/>
          <ac:spMkLst>
            <pc:docMk/>
            <pc:sldMk cId="1633327501" sldId="505"/>
            <ac:spMk id="262" creationId="{D2E0778D-74D7-4778-A322-EC2A2F118B9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70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72" creationId="{00000000-0000-0000-0000-000000000000}"/>
          </ac:spMkLst>
        </pc:sp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3" creationId="{BFA3BAC2-EA29-4B63-B72C-2D1756A3CEE2}"/>
          </ac:cxnSpMkLst>
        </pc:cxnChg>
        <pc:cxnChg chg="add mod">
          <ac:chgData name="zur bonsen georg" userId="5444515566c7376a" providerId="LiveId" clId="{EE8043E9-5C9D-48E2-83BC-322B6217B78C}" dt="2022-02-15T21:25:21.364" v="1758" actId="14100"/>
          <ac:cxnSpMkLst>
            <pc:docMk/>
            <pc:sldMk cId="1633327501" sldId="505"/>
            <ac:cxnSpMk id="27" creationId="{A702CF76-8348-436D-ADB7-4A223946F15C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65" creationId="{31EC0C8B-85F6-480F-9933-86DBA39C0F74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66" creationId="{A3E61FB8-4C7F-4099-9DFE-BE0798D1EE3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5" creationId="{E299F31E-999E-4B6A-BE08-C6DF8CBA79D8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6" creationId="{13050CD7-B594-441E-9F3A-BDDF2C5614A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7" creationId="{6CB76CFF-37B9-4562-BD68-5A6F24FAA9BC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95" creationId="{B2D14F6B-AB47-4A1A-821D-D5527E75CCA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0" creationId="{69F5EF00-42C5-418E-AD1D-D21D2872092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1" creationId="{43D13A36-5DF4-4E4E-935C-F8455838213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2" creationId="{0DBF318C-D744-4985-9A81-789C44195BB0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2" creationId="{DB70BD21-74D3-4EF8-BBF0-D92EDFBD327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3" creationId="{93F8EC8C-B098-48F3-8FAF-F4F93BB4BDF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4" creationId="{B0A93FB6-8DDA-4E1B-AD09-C759DD2BE443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5" creationId="{1EF80AA1-7552-4B15-AEBD-7480FC913B7B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6" creationId="{5EFEA6A6-C021-43D0-ABBE-A97F7F34E24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7" creationId="{5A8124A7-ED9B-41FA-BFF7-2B452D7BDF39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63" creationId="{42D46F15-F171-4D0F-8E1F-C7C827C3D6E1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76" creationId="{E4D1ACDC-F92C-436C-BEF3-49D38D83247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78" creationId="{56FD4AD2-7DAD-4BF0-B317-23E62DC208D5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84" creationId="{E561B877-EBC1-48B4-883D-9DA603F8D282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89" creationId="{8195312C-0694-41DD-9317-671730A972E8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90" creationId="{5A45DC25-B743-4D78-9DD9-DFE05752BE0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92" creationId="{ED87E95F-4A7B-4248-BA51-668EC25137B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0" creationId="{133A323B-D6D8-46F4-9BAF-2FAB251B076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1" creationId="{059C1F48-A618-4847-934B-807C720142F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2" creationId="{21CD90EC-DD52-4BE4-8D6A-557B4D5698D9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9" creationId="{7C596F1A-912B-48F3-9F80-038E27CDB361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10" creationId="{F6190639-251A-42FE-8E40-C3E468AAFDF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11" creationId="{09A27FA0-13FA-49A2-B707-E857B149A47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4" creationId="{00000000-0000-0000-0000-00000000000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6" creationId="{00000000-0000-0000-0000-00000000000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7" creationId="{00000000-0000-0000-0000-000000000000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19" creationId="{AA2269FD-3675-494A-9C14-804A4A24ECF5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21" creationId="{11A1B198-9E59-4F34-85B5-29E43C8259CC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24" creationId="{2AF22726-F3C5-4C6D-A8D5-6078DD6CB176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30" creationId="{00000000-0000-0000-0000-000000000000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37" creationId="{57CAEBA2-A63E-49D5-862A-4AAD5259B97D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41" creationId="{D2C8A866-3641-4D18-8967-BBEFF8B417EE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42" creationId="{361589E4-BA15-4271-B303-3D35AFC860EC}"/>
          </ac:cxnSpMkLst>
        </pc:cxnChg>
        <pc:cxnChg chg="add mod">
          <ac:chgData name="zur bonsen georg" userId="5444515566c7376a" providerId="LiveId" clId="{EE8043E9-5C9D-48E2-83BC-322B6217B78C}" dt="2022-02-15T21:44:57.531" v="2136" actId="14100"/>
          <ac:cxnSpMkLst>
            <pc:docMk/>
            <pc:sldMk cId="1633327501" sldId="505"/>
            <ac:cxnSpMk id="263" creationId="{F6133C8B-228F-464F-B6B8-D6C79A28E280}"/>
          </ac:cxnSpMkLst>
        </pc:cxnChg>
        <pc:cxnChg chg="add del mod">
          <ac:chgData name="zur bonsen georg" userId="5444515566c7376a" providerId="LiveId" clId="{EE8043E9-5C9D-48E2-83BC-322B6217B78C}" dt="2022-02-15T21:25:47.360" v="1771" actId="478"/>
          <ac:cxnSpMkLst>
            <pc:docMk/>
            <pc:sldMk cId="1633327501" sldId="505"/>
            <ac:cxnSpMk id="264" creationId="{B407F116-3B84-40D3-8B11-216622DBEF82}"/>
          </ac:cxnSpMkLst>
        </pc:cxnChg>
        <pc:cxnChg chg="add mod">
          <ac:chgData name="zur bonsen georg" userId="5444515566c7376a" providerId="LiveId" clId="{EE8043E9-5C9D-48E2-83BC-322B6217B78C}" dt="2022-02-15T21:27:12.306" v="1800" actId="1035"/>
          <ac:cxnSpMkLst>
            <pc:docMk/>
            <pc:sldMk cId="1633327501" sldId="505"/>
            <ac:cxnSpMk id="265" creationId="{A2B22C6D-804E-41E6-A913-DDCAC820F8C9}"/>
          </ac:cxnSpMkLst>
        </pc:cxnChg>
        <pc:cxnChg chg="add mod">
          <ac:chgData name="zur bonsen georg" userId="5444515566c7376a" providerId="LiveId" clId="{EE8043E9-5C9D-48E2-83BC-322B6217B78C}" dt="2022-02-15T21:27:34.208" v="1806" actId="14100"/>
          <ac:cxnSpMkLst>
            <pc:docMk/>
            <pc:sldMk cId="1633327501" sldId="505"/>
            <ac:cxnSpMk id="266" creationId="{751EF999-4594-4752-A489-CBEE237EE580}"/>
          </ac:cxnSpMkLst>
        </pc:cxnChg>
        <pc:cxnChg chg="add mod">
          <ac:chgData name="zur bonsen georg" userId="5444515566c7376a" providerId="LiveId" clId="{EE8043E9-5C9D-48E2-83BC-322B6217B78C}" dt="2022-02-15T21:25:40.038" v="1767" actId="1076"/>
          <ac:cxnSpMkLst>
            <pc:docMk/>
            <pc:sldMk cId="1633327501" sldId="505"/>
            <ac:cxnSpMk id="267" creationId="{1BD80A51-734F-42F2-8B73-F281DF4C6937}"/>
          </ac:cxnSpMkLst>
        </pc:cxnChg>
        <pc:cxnChg chg="add mod">
          <ac:chgData name="zur bonsen georg" userId="5444515566c7376a" providerId="LiveId" clId="{EE8043E9-5C9D-48E2-83BC-322B6217B78C}" dt="2022-02-15T21:44:54.695" v="2135" actId="1036"/>
          <ac:cxnSpMkLst>
            <pc:docMk/>
            <pc:sldMk cId="1633327501" sldId="505"/>
            <ac:cxnSpMk id="268" creationId="{7224BA63-E72A-42E8-BD4D-698C251C6CE8}"/>
          </ac:cxnSpMkLst>
        </pc:cxnChg>
        <pc:cxnChg chg="add mod">
          <ac:chgData name="zur bonsen georg" userId="5444515566c7376a" providerId="LiveId" clId="{EE8043E9-5C9D-48E2-83BC-322B6217B78C}" dt="2022-02-15T21:44:53.872" v="2134" actId="14100"/>
          <ac:cxnSpMkLst>
            <pc:docMk/>
            <pc:sldMk cId="1633327501" sldId="505"/>
            <ac:cxnSpMk id="269" creationId="{FFF9A149-57D5-4FE6-AF92-DA229F0CCB10}"/>
          </ac:cxnSpMkLst>
        </pc:cxnChg>
        <pc:cxnChg chg="add mod">
          <ac:chgData name="zur bonsen georg" userId="5444515566c7376a" providerId="LiveId" clId="{EE8043E9-5C9D-48E2-83BC-322B6217B78C}" dt="2022-02-15T21:27:24.722" v="1803" actId="1076"/>
          <ac:cxnSpMkLst>
            <pc:docMk/>
            <pc:sldMk cId="1633327501" sldId="505"/>
            <ac:cxnSpMk id="271" creationId="{96155636-8566-4B78-B405-BAD7C7E6B16F}"/>
          </ac:cxnSpMkLst>
        </pc:cxnChg>
        <pc:cxnChg chg="add mod">
          <ac:chgData name="zur bonsen georg" userId="5444515566c7376a" providerId="LiveId" clId="{EE8043E9-5C9D-48E2-83BC-322B6217B78C}" dt="2022-02-15T21:44:51.408" v="2133" actId="1036"/>
          <ac:cxnSpMkLst>
            <pc:docMk/>
            <pc:sldMk cId="1633327501" sldId="505"/>
            <ac:cxnSpMk id="273" creationId="{C0957FCF-8B20-4405-957B-573844931763}"/>
          </ac:cxnSpMkLst>
        </pc:cxnChg>
        <pc:cxnChg chg="add mod">
          <ac:chgData name="zur bonsen georg" userId="5444515566c7376a" providerId="LiveId" clId="{EE8043E9-5C9D-48E2-83BC-322B6217B78C}" dt="2022-02-15T21:26:22.329" v="1787" actId="14100"/>
          <ac:cxnSpMkLst>
            <pc:docMk/>
            <pc:sldMk cId="1633327501" sldId="505"/>
            <ac:cxnSpMk id="274" creationId="{8D827FAB-09AF-4A9A-97AD-6611548CE38B}"/>
          </ac:cxnSpMkLst>
        </pc:cxnChg>
      </pc:sldChg>
      <pc:sldChg chg="addSp delSp modSp add mod">
        <pc:chgData name="zur bonsen georg" userId="5444515566c7376a" providerId="LiveId" clId="{EE8043E9-5C9D-48E2-83BC-322B6217B78C}" dt="2022-02-28T22:07:28.731" v="5765" actId="20577"/>
        <pc:sldMkLst>
          <pc:docMk/>
          <pc:sldMk cId="2182778507" sldId="506"/>
        </pc:sldMkLst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6" creationId="{03B25F4F-FBCF-4C4E-AA15-04F7EA0CB832}"/>
          </ac:spMkLst>
        </pc:spChg>
        <pc:spChg chg="add mod">
          <ac:chgData name="zur bonsen georg" userId="5444515566c7376a" providerId="LiveId" clId="{EE8043E9-5C9D-48E2-83BC-322B6217B78C}" dt="2022-02-28T22:02:58.254" v="5198" actId="1036"/>
          <ac:spMkLst>
            <pc:docMk/>
            <pc:sldMk cId="2182778507" sldId="506"/>
            <ac:spMk id="19" creationId="{60D8DB24-2593-41CD-B403-D6BE1193F094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0" creationId="{494AC68D-ED77-4C4B-A06D-93F5E2FD914A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1" creationId="{DC6486D6-7308-4344-B0A1-1A294B0FC4DB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2" creationId="{D48ACF04-C5C9-4F1A-A81C-850E28AA7632}"/>
          </ac:spMkLst>
        </pc:spChg>
        <pc:spChg chg="add del mod">
          <ac:chgData name="zur bonsen georg" userId="5444515566c7376a" providerId="LiveId" clId="{EE8043E9-5C9D-48E2-83BC-322B6217B78C}" dt="2022-02-28T21:55:00.708" v="4907" actId="478"/>
          <ac:spMkLst>
            <pc:docMk/>
            <pc:sldMk cId="2182778507" sldId="506"/>
            <ac:spMk id="23" creationId="{09BB5E26-E1BD-425B-A091-0902FC162F18}"/>
          </ac:spMkLst>
        </pc:spChg>
        <pc:spChg chg="add mod">
          <ac:chgData name="zur bonsen georg" userId="5444515566c7376a" providerId="LiveId" clId="{EE8043E9-5C9D-48E2-83BC-322B6217B78C}" dt="2022-02-28T21:58:53.178" v="5033" actId="113"/>
          <ac:spMkLst>
            <pc:docMk/>
            <pc:sldMk cId="2182778507" sldId="506"/>
            <ac:spMk id="24" creationId="{697BB716-7254-4C23-8D78-3C758A7E6E43}"/>
          </ac:spMkLst>
        </pc:spChg>
        <pc:spChg chg="add del mod">
          <ac:chgData name="zur bonsen georg" userId="5444515566c7376a" providerId="LiveId" clId="{EE8043E9-5C9D-48E2-83BC-322B6217B78C}" dt="2022-02-28T21:23:30.682" v="2691" actId="478"/>
          <ac:spMkLst>
            <pc:docMk/>
            <pc:sldMk cId="2182778507" sldId="506"/>
            <ac:spMk id="25" creationId="{BB3D39FA-F7C5-4D9C-A12D-1A096332C3C0}"/>
          </ac:spMkLst>
        </pc:spChg>
        <pc:spChg chg="add mod">
          <ac:chgData name="zur bonsen georg" userId="5444515566c7376a" providerId="LiveId" clId="{EE8043E9-5C9D-48E2-83BC-322B6217B78C}" dt="2022-02-28T22:00:28.353" v="5051" actId="2085"/>
          <ac:spMkLst>
            <pc:docMk/>
            <pc:sldMk cId="2182778507" sldId="506"/>
            <ac:spMk id="26" creationId="{86A28E21-0B1A-4A90-988F-10355FE70922}"/>
          </ac:spMkLst>
        </pc:spChg>
        <pc:spChg chg="add mod">
          <ac:chgData name="zur bonsen georg" userId="5444515566c7376a" providerId="LiveId" clId="{EE8043E9-5C9D-48E2-83BC-322B6217B78C}" dt="2022-02-28T21:58:30.776" v="5027" actId="113"/>
          <ac:spMkLst>
            <pc:docMk/>
            <pc:sldMk cId="2182778507" sldId="506"/>
            <ac:spMk id="27" creationId="{33C60CA0-8926-4BB3-91C6-584A38B3C3A1}"/>
          </ac:spMkLst>
        </pc:spChg>
        <pc:spChg chg="add mod">
          <ac:chgData name="zur bonsen georg" userId="5444515566c7376a" providerId="LiveId" clId="{EE8043E9-5C9D-48E2-83BC-322B6217B78C}" dt="2022-02-28T21:58:37.861" v="5029" actId="113"/>
          <ac:spMkLst>
            <pc:docMk/>
            <pc:sldMk cId="2182778507" sldId="506"/>
            <ac:spMk id="28" creationId="{3103C3D1-0296-4721-9392-12B2D1B0EBE0}"/>
          </ac:spMkLst>
        </pc:spChg>
        <pc:spChg chg="add mod">
          <ac:chgData name="zur bonsen georg" userId="5444515566c7376a" providerId="LiveId" clId="{EE8043E9-5C9D-48E2-83BC-322B6217B78C}" dt="2022-02-28T21:45:52.687" v="4321" actId="207"/>
          <ac:spMkLst>
            <pc:docMk/>
            <pc:sldMk cId="2182778507" sldId="506"/>
            <ac:spMk id="29" creationId="{93BDB0F9-88F2-4D90-B9E3-FFFDC87E7262}"/>
          </ac:spMkLst>
        </pc:spChg>
        <pc:spChg chg="add del mod">
          <ac:chgData name="zur bonsen georg" userId="5444515566c7376a" providerId="LiveId" clId="{EE8043E9-5C9D-48E2-83BC-322B6217B78C}" dt="2022-02-28T21:36:57.732" v="3807" actId="478"/>
          <ac:spMkLst>
            <pc:docMk/>
            <pc:sldMk cId="2182778507" sldId="506"/>
            <ac:spMk id="30" creationId="{1980CC0C-EAFD-40F4-AF67-B28B3A3DA4A3}"/>
          </ac:spMkLst>
        </pc:spChg>
        <pc:spChg chg="add mod">
          <ac:chgData name="zur bonsen georg" userId="5444515566c7376a" providerId="LiveId" clId="{EE8043E9-5C9D-48E2-83BC-322B6217B78C}" dt="2022-02-28T22:05:23.081" v="5516" actId="1035"/>
          <ac:spMkLst>
            <pc:docMk/>
            <pc:sldMk cId="2182778507" sldId="506"/>
            <ac:spMk id="31" creationId="{2B01B5EA-3935-46C3-B8CA-49486E310B27}"/>
          </ac:spMkLst>
        </pc:spChg>
        <pc:spChg chg="add mod">
          <ac:chgData name="zur bonsen georg" userId="5444515566c7376a" providerId="LiveId" clId="{EE8043E9-5C9D-48E2-83BC-322B6217B78C}" dt="2022-02-28T22:06:37.050" v="5698" actId="14100"/>
          <ac:spMkLst>
            <pc:docMk/>
            <pc:sldMk cId="2182778507" sldId="506"/>
            <ac:spMk id="32" creationId="{F86997ED-077D-4468-A297-A6CC4C763BB6}"/>
          </ac:spMkLst>
        </pc:spChg>
        <pc:spChg chg="add mod">
          <ac:chgData name="zur bonsen georg" userId="5444515566c7376a" providerId="LiveId" clId="{EE8043E9-5C9D-48E2-83BC-322B6217B78C}" dt="2022-02-28T22:07:28.731" v="5765" actId="20577"/>
          <ac:spMkLst>
            <pc:docMk/>
            <pc:sldMk cId="2182778507" sldId="506"/>
            <ac:spMk id="33" creationId="{75B7F68E-DC0C-4F3F-A233-ADD73AC4EB5D}"/>
          </ac:spMkLst>
        </pc:spChg>
        <pc:spChg chg="add del mod">
          <ac:chgData name="zur bonsen georg" userId="5444515566c7376a" providerId="LiveId" clId="{EE8043E9-5C9D-48E2-83BC-322B6217B78C}" dt="2022-02-28T21:50:29.535" v="4484" actId="478"/>
          <ac:spMkLst>
            <pc:docMk/>
            <pc:sldMk cId="2182778507" sldId="506"/>
            <ac:spMk id="69" creationId="{0B6F22D5-EEC9-4103-88B3-20C38EBFBACE}"/>
          </ac:spMkLst>
        </pc:spChg>
        <pc:spChg chg="add mod">
          <ac:chgData name="zur bonsen georg" userId="5444515566c7376a" providerId="LiveId" clId="{EE8043E9-5C9D-48E2-83BC-322B6217B78C}" dt="2022-02-28T22:05:48.610" v="5547" actId="1036"/>
          <ac:spMkLst>
            <pc:docMk/>
            <pc:sldMk cId="2182778507" sldId="506"/>
            <ac:spMk id="80" creationId="{77AEAB4B-9707-48A1-8531-4D8FC855E8A4}"/>
          </ac:spMkLst>
        </pc:spChg>
        <pc:spChg chg="add mod ord">
          <ac:chgData name="zur bonsen georg" userId="5444515566c7376a" providerId="LiveId" clId="{EE8043E9-5C9D-48E2-83BC-322B6217B78C}" dt="2022-02-28T22:05:41.417" v="5543" actId="20577"/>
          <ac:spMkLst>
            <pc:docMk/>
            <pc:sldMk cId="2182778507" sldId="506"/>
            <ac:spMk id="81" creationId="{E8B6D4EB-08D0-46B1-85B3-E55C14FEC7E8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380" creationId="{566E23E7-F9CA-4744-B890-4CDCF09827FC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382" creationId="{2715AA32-8EAF-45C8-BE31-703315685336}"/>
          </ac:spMkLst>
        </pc:spChg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384" creationId="{AD1C4384-F554-4025-9591-3A94928D4694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385" creationId="{EC8EBD0E-614A-41CA-B43C-08F197604B8B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19" creationId="{410563D6-851F-43B6-85E5-39C51DBE734E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420" creationId="{00A816FA-9898-44C1-9E25-33A6764929DF}"/>
          </ac:spMkLst>
        </pc:spChg>
        <pc:spChg chg="mod">
          <ac:chgData name="zur bonsen georg" userId="5444515566c7376a" providerId="LiveId" clId="{EE8043E9-5C9D-48E2-83BC-322B6217B78C}" dt="2022-02-28T21:58:50.341" v="5031" actId="113"/>
          <ac:spMkLst>
            <pc:docMk/>
            <pc:sldMk cId="2182778507" sldId="506"/>
            <ac:spMk id="421" creationId="{8C66F0B6-5B68-44DA-A605-A3883BE0ACEF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2" creationId="{88E43557-5919-4BC9-B344-BBF82C0014A9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3" creationId="{C0DC8E5A-B1F0-4A2C-B66C-604E4568E713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424" creationId="{CA30B6CA-DB3C-403A-85E5-82A8DC5DA1C0}"/>
          </ac:spMkLst>
        </pc:spChg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425" creationId="{FD78D88E-B925-4B6C-B1D2-02CDC487C87F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6" creationId="{C4F78FB8-0471-454E-BCE6-090533527454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7" creationId="{BD0E58F2-F6F8-4475-A960-140F76E8DDDF}"/>
          </ac:spMkLst>
        </pc:spChg>
        <pc:spChg chg="del">
          <ac:chgData name="zur bonsen georg" userId="5444515566c7376a" providerId="LiveId" clId="{EE8043E9-5C9D-48E2-83BC-322B6217B78C}" dt="2022-02-28T21:20:41.691" v="2493" actId="478"/>
          <ac:spMkLst>
            <pc:docMk/>
            <pc:sldMk cId="2182778507" sldId="506"/>
            <ac:spMk id="428" creationId="{8FC7A6AA-ECC5-40C9-92E7-3E158C71FE5E}"/>
          </ac:spMkLst>
        </pc:spChg>
        <pc:cxnChg chg="add mod">
          <ac:chgData name="zur bonsen georg" userId="5444515566c7376a" providerId="LiveId" clId="{EE8043E9-5C9D-48E2-83BC-322B6217B78C}" dt="2022-02-28T21:42:14.321" v="4255" actId="1076"/>
          <ac:cxnSpMkLst>
            <pc:docMk/>
            <pc:sldMk cId="2182778507" sldId="506"/>
            <ac:cxnSpMk id="5" creationId="{893E9740-E9C5-461C-B7B6-674D9AEEA51F}"/>
          </ac:cxnSpMkLst>
        </pc:cxnChg>
        <pc:cxnChg chg="add mod">
          <ac:chgData name="zur bonsen georg" userId="5444515566c7376a" providerId="LiveId" clId="{EE8043E9-5C9D-48E2-83BC-322B6217B78C}" dt="2022-02-28T21:42:04.322" v="4254" actId="692"/>
          <ac:cxnSpMkLst>
            <pc:docMk/>
            <pc:sldMk cId="2182778507" sldId="506"/>
            <ac:cxnSpMk id="36" creationId="{CDF8A4B3-EA5A-4CB4-AAF9-086235BFAE7D}"/>
          </ac:cxnSpMkLst>
        </pc:cxnChg>
        <pc:cxnChg chg="add mod">
          <ac:chgData name="zur bonsen georg" userId="5444515566c7376a" providerId="LiveId" clId="{EE8043E9-5C9D-48E2-83BC-322B6217B78C}" dt="2022-02-28T21:44:21.634" v="4303" actId="1036"/>
          <ac:cxnSpMkLst>
            <pc:docMk/>
            <pc:sldMk cId="2182778507" sldId="506"/>
            <ac:cxnSpMk id="38" creationId="{23A8E4A2-31B5-4C1C-ABF4-6BF5C1246CFD}"/>
          </ac:cxnSpMkLst>
        </pc:cxnChg>
        <pc:cxnChg chg="add mod">
          <ac:chgData name="zur bonsen georg" userId="5444515566c7376a" providerId="LiveId" clId="{EE8043E9-5C9D-48E2-83BC-322B6217B78C}" dt="2022-02-28T21:42:48.146" v="4267" actId="14100"/>
          <ac:cxnSpMkLst>
            <pc:docMk/>
            <pc:sldMk cId="2182778507" sldId="506"/>
            <ac:cxnSpMk id="40" creationId="{396AB212-F2F2-4680-933E-B12B0D0464EF}"/>
          </ac:cxnSpMkLst>
        </pc:cxnChg>
        <pc:cxnChg chg="add mod">
          <ac:chgData name="zur bonsen georg" userId="5444515566c7376a" providerId="LiveId" clId="{EE8043E9-5C9D-48E2-83BC-322B6217B78C}" dt="2022-02-28T21:43:22.900" v="4276" actId="1036"/>
          <ac:cxnSpMkLst>
            <pc:docMk/>
            <pc:sldMk cId="2182778507" sldId="506"/>
            <ac:cxnSpMk id="42" creationId="{BCC2CADB-08DF-4938-B876-ABA868364BA8}"/>
          </ac:cxnSpMkLst>
        </pc:cxnChg>
        <pc:cxnChg chg="add mod">
          <ac:chgData name="zur bonsen georg" userId="5444515566c7376a" providerId="LiveId" clId="{EE8043E9-5C9D-48E2-83BC-322B6217B78C}" dt="2022-02-28T21:43:30.473" v="4278" actId="14100"/>
          <ac:cxnSpMkLst>
            <pc:docMk/>
            <pc:sldMk cId="2182778507" sldId="506"/>
            <ac:cxnSpMk id="44" creationId="{ABE2FD11-61B7-4654-AC34-50097F9A05E9}"/>
          </ac:cxnSpMkLst>
        </pc:cxnChg>
        <pc:cxnChg chg="add mod">
          <ac:chgData name="zur bonsen georg" userId="5444515566c7376a" providerId="LiveId" clId="{EE8043E9-5C9D-48E2-83BC-322B6217B78C}" dt="2022-02-28T21:43:33.503" v="4280" actId="1076"/>
          <ac:cxnSpMkLst>
            <pc:docMk/>
            <pc:sldMk cId="2182778507" sldId="506"/>
            <ac:cxnSpMk id="49" creationId="{A08B934C-5C13-487D-9BAF-0E26CCF4C822}"/>
          </ac:cxnSpMkLst>
        </pc:cxnChg>
        <pc:cxnChg chg="add mod">
          <ac:chgData name="zur bonsen georg" userId="5444515566c7376a" providerId="LiveId" clId="{EE8043E9-5C9D-48E2-83BC-322B6217B78C}" dt="2022-02-28T21:43:33.930" v="4281"/>
          <ac:cxnSpMkLst>
            <pc:docMk/>
            <pc:sldMk cId="2182778507" sldId="506"/>
            <ac:cxnSpMk id="50" creationId="{92F439F9-8BBE-4768-9CE6-3DFB64E6AF86}"/>
          </ac:cxnSpMkLst>
        </pc:cxnChg>
        <pc:cxnChg chg="add mod">
          <ac:chgData name="zur bonsen georg" userId="5444515566c7376a" providerId="LiveId" clId="{EE8043E9-5C9D-48E2-83BC-322B6217B78C}" dt="2022-02-28T21:47:26.772" v="4387" actId="1076"/>
          <ac:cxnSpMkLst>
            <pc:docMk/>
            <pc:sldMk cId="2182778507" sldId="506"/>
            <ac:cxnSpMk id="51" creationId="{EAB488B0-4680-413A-9163-3F42253D8C64}"/>
          </ac:cxnSpMkLst>
        </pc:cxnChg>
        <pc:cxnChg chg="add mod">
          <ac:chgData name="zur bonsen georg" userId="5444515566c7376a" providerId="LiveId" clId="{EE8043E9-5C9D-48E2-83BC-322B6217B78C}" dt="2022-02-28T21:48:05.778" v="4403" actId="14100"/>
          <ac:cxnSpMkLst>
            <pc:docMk/>
            <pc:sldMk cId="2182778507" sldId="506"/>
            <ac:cxnSpMk id="53" creationId="{63570352-AB05-4334-8AAE-037DBE485211}"/>
          </ac:cxnSpMkLst>
        </pc:cxnChg>
        <pc:cxnChg chg="add mod">
          <ac:chgData name="zur bonsen georg" userId="5444515566c7376a" providerId="LiveId" clId="{EE8043E9-5C9D-48E2-83BC-322B6217B78C}" dt="2022-02-28T21:47:46.464" v="4394" actId="14100"/>
          <ac:cxnSpMkLst>
            <pc:docMk/>
            <pc:sldMk cId="2182778507" sldId="506"/>
            <ac:cxnSpMk id="56" creationId="{D1311ADB-F724-43B2-B81A-B399A9BB0977}"/>
          </ac:cxnSpMkLst>
        </pc:cxnChg>
        <pc:cxnChg chg="add mod">
          <ac:chgData name="zur bonsen georg" userId="5444515566c7376a" providerId="LiveId" clId="{EE8043E9-5C9D-48E2-83BC-322B6217B78C}" dt="2022-02-28T21:47:46.831" v="4395"/>
          <ac:cxnSpMkLst>
            <pc:docMk/>
            <pc:sldMk cId="2182778507" sldId="506"/>
            <ac:cxnSpMk id="59" creationId="{153F1C0F-96D4-41F5-8033-0EE923954990}"/>
          </ac:cxnSpMkLst>
        </pc:cxnChg>
        <pc:cxnChg chg="add mod">
          <ac:chgData name="zur bonsen georg" userId="5444515566c7376a" providerId="LiveId" clId="{EE8043E9-5C9D-48E2-83BC-322B6217B78C}" dt="2022-02-28T21:47:48.193" v="4396"/>
          <ac:cxnSpMkLst>
            <pc:docMk/>
            <pc:sldMk cId="2182778507" sldId="506"/>
            <ac:cxnSpMk id="60" creationId="{089990A8-A414-4DAB-814C-325324577281}"/>
          </ac:cxnSpMkLst>
        </pc:cxnChg>
        <pc:cxnChg chg="add mod">
          <ac:chgData name="zur bonsen georg" userId="5444515566c7376a" providerId="LiveId" clId="{EE8043E9-5C9D-48E2-83BC-322B6217B78C}" dt="2022-02-28T21:47:50.855" v="4397"/>
          <ac:cxnSpMkLst>
            <pc:docMk/>
            <pc:sldMk cId="2182778507" sldId="506"/>
            <ac:cxnSpMk id="61" creationId="{B1803DE6-11A8-4964-B00A-D3C2A72E32D4}"/>
          </ac:cxnSpMkLst>
        </pc:cxnChg>
        <pc:cxnChg chg="add mod">
          <ac:chgData name="zur bonsen georg" userId="5444515566c7376a" providerId="LiveId" clId="{EE8043E9-5C9D-48E2-83BC-322B6217B78C}" dt="2022-02-28T21:48:03.626" v="4402" actId="14100"/>
          <ac:cxnSpMkLst>
            <pc:docMk/>
            <pc:sldMk cId="2182778507" sldId="506"/>
            <ac:cxnSpMk id="62" creationId="{D206AE77-B8DE-437D-976A-546E29813FDC}"/>
          </ac:cxnSpMkLst>
        </pc:cxnChg>
        <pc:cxnChg chg="add mod">
          <ac:chgData name="zur bonsen georg" userId="5444515566c7376a" providerId="LiveId" clId="{EE8043E9-5C9D-48E2-83BC-322B6217B78C}" dt="2022-02-28T22:05:23.081" v="5516" actId="1035"/>
          <ac:cxnSpMkLst>
            <pc:docMk/>
            <pc:sldMk cId="2182778507" sldId="506"/>
            <ac:cxnSpMk id="67" creationId="{33EE6E7E-05D4-4598-A45B-6618621E03C2}"/>
          </ac:cxnSpMkLst>
        </pc:cxnChg>
        <pc:cxnChg chg="add mod">
          <ac:chgData name="zur bonsen georg" userId="5444515566c7376a" providerId="LiveId" clId="{EE8043E9-5C9D-48E2-83BC-322B6217B78C}" dt="2022-02-28T21:51:27.011" v="4498" actId="14100"/>
          <ac:cxnSpMkLst>
            <pc:docMk/>
            <pc:sldMk cId="2182778507" sldId="506"/>
            <ac:cxnSpMk id="70" creationId="{2AEB399C-F4E6-49D2-BBD7-4936268E062C}"/>
          </ac:cxnSpMkLst>
        </pc:cxnChg>
        <pc:cxnChg chg="add del mod">
          <ac:chgData name="zur bonsen georg" userId="5444515566c7376a" providerId="LiveId" clId="{EE8043E9-5C9D-48E2-83BC-322B6217B78C}" dt="2022-02-28T21:51:17.588" v="4496" actId="478"/>
          <ac:cxnSpMkLst>
            <pc:docMk/>
            <pc:sldMk cId="2182778507" sldId="506"/>
            <ac:cxnSpMk id="73" creationId="{93A60215-5C9F-428D-B682-01B24DE49D2F}"/>
          </ac:cxnSpMkLst>
        </pc:cxnChg>
        <pc:cxnChg chg="add del mod">
          <ac:chgData name="zur bonsen georg" userId="5444515566c7376a" providerId="LiveId" clId="{EE8043E9-5C9D-48E2-83BC-322B6217B78C}" dt="2022-02-28T21:51:17.588" v="4496" actId="478"/>
          <ac:cxnSpMkLst>
            <pc:docMk/>
            <pc:sldMk cId="2182778507" sldId="506"/>
            <ac:cxnSpMk id="75" creationId="{0AE7CBEF-35FF-4687-B1B5-2198B59B2ED6}"/>
          </ac:cxnSpMkLst>
        </pc:cxnChg>
      </pc:sldChg>
    </pc:docChg>
  </pc:docChgLst>
  <pc:docChgLst>
    <pc:chgData name="zur bonsen georg" userId="5444515566c7376a" providerId="LiveId" clId="{E2A072EC-0FB7-4427-8947-EFC664D98567}"/>
    <pc:docChg chg="custSel addSld delSld modSld sldOrd">
      <pc:chgData name="zur bonsen georg" userId="5444515566c7376a" providerId="LiveId" clId="{E2A072EC-0FB7-4427-8947-EFC664D98567}" dt="2022-04-24T20:09:57.660" v="604"/>
      <pc:docMkLst>
        <pc:docMk/>
      </pc:docMkLst>
      <pc:sldChg chg="del">
        <pc:chgData name="zur bonsen georg" userId="5444515566c7376a" providerId="LiveId" clId="{E2A072EC-0FB7-4427-8947-EFC664D98567}" dt="2022-04-24T20:06:29.914" v="0" actId="47"/>
        <pc:sldMkLst>
          <pc:docMk/>
          <pc:sldMk cId="3131759380" sldId="39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740065936" sldId="40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788233700" sldId="40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527750878" sldId="40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838865392" sldId="40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057822499" sldId="40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328848704" sldId="40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38531017" sldId="40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932286658" sldId="40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455842934" sldId="40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740273037" sldId="410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477871724" sldId="41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347011761" sldId="41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867316911" sldId="41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387862164" sldId="43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111561638" sldId="43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049601038" sldId="43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4245913433" sldId="44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826159216" sldId="44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952589977" sldId="44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816969780" sldId="44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10645518" sldId="44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94829151" sldId="450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24969600" sldId="45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700169664" sldId="45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859533113" sldId="45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525354292" sldId="45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165799892" sldId="45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328803391" sldId="45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855652657" sldId="45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422531106" sldId="45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493544518" sldId="46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416666032" sldId="46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710046809" sldId="46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253797552" sldId="46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628415422" sldId="46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580480211" sldId="46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761763701" sldId="46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526378639" sldId="470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466012332" sldId="47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222441053" sldId="47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916272825" sldId="47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496914802" sldId="47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608051848" sldId="47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598901479" sldId="47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088105565" sldId="47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25308579" sldId="47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499009989" sldId="480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012768356" sldId="48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418399874" sldId="48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364563069" sldId="48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94376799" sldId="48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438484619" sldId="48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681695832" sldId="48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115272988" sldId="48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24759857" sldId="48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675635908" sldId="490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329161533" sldId="49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171762777" sldId="49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092039878" sldId="49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535256100" sldId="49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688216259" sldId="49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859235825" sldId="49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622154036" sldId="49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4026212954" sldId="49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207450582" sldId="499"/>
        </pc:sldMkLst>
      </pc:sldChg>
      <pc:sldChg chg="add del">
        <pc:chgData name="zur bonsen georg" userId="5444515566c7376a" providerId="LiveId" clId="{E2A072EC-0FB7-4427-8947-EFC664D98567}" dt="2022-04-24T20:09:52.759" v="603"/>
        <pc:sldMkLst>
          <pc:docMk/>
          <pc:sldMk cId="1949928875" sldId="501"/>
        </pc:sldMkLst>
      </pc:sldChg>
      <pc:sldChg chg="add del">
        <pc:chgData name="zur bonsen georg" userId="5444515566c7376a" providerId="LiveId" clId="{E2A072EC-0FB7-4427-8947-EFC664D98567}" dt="2022-04-24T20:09:57.660" v="604"/>
        <pc:sldMkLst>
          <pc:docMk/>
          <pc:sldMk cId="1644476745" sldId="50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870281269" sldId="50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413201583" sldId="50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33327501" sldId="50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182778507" sldId="506"/>
        </pc:sldMkLst>
      </pc:sldChg>
      <pc:sldChg chg="addSp delSp modSp add mod ord modClrScheme chgLayout">
        <pc:chgData name="zur bonsen georg" userId="5444515566c7376a" providerId="LiveId" clId="{E2A072EC-0FB7-4427-8947-EFC664D98567}" dt="2022-04-24T20:09:19.781" v="602"/>
        <pc:sldMkLst>
          <pc:docMk/>
          <pc:sldMk cId="442938713" sldId="518"/>
        </pc:sldMkLst>
        <pc:spChg chg="mod ord">
          <ac:chgData name="zur bonsen georg" userId="5444515566c7376a" providerId="LiveId" clId="{E2A072EC-0FB7-4427-8947-EFC664D98567}" dt="2022-04-24T20:09:14.514" v="600" actId="790"/>
          <ac:spMkLst>
            <pc:docMk/>
            <pc:sldMk cId="442938713" sldId="518"/>
            <ac:spMk id="2" creationId="{00000000-0000-0000-0000-000000000000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" creationId="{8EF1E25C-D400-47B7-8D16-E799804253F8}"/>
          </ac:spMkLst>
        </pc:spChg>
        <pc:spChg chg="del mod ord">
          <ac:chgData name="zur bonsen georg" userId="5444515566c7376a" providerId="LiveId" clId="{E2A072EC-0FB7-4427-8947-EFC664D98567}" dt="2022-04-24T20:07:17.932" v="79" actId="700"/>
          <ac:spMkLst>
            <pc:docMk/>
            <pc:sldMk cId="442938713" sldId="518"/>
            <ac:spMk id="4" creationId="{00000000-0000-0000-0000-000000000000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" creationId="{DBCA76AD-70CA-40EE-8E7A-5316D0243104}"/>
          </ac:spMkLst>
        </pc:spChg>
        <pc:spChg chg="add mod ord">
          <ac:chgData name="zur bonsen georg" userId="5444515566c7376a" providerId="LiveId" clId="{E2A072EC-0FB7-4427-8947-EFC664D98567}" dt="2022-04-24T20:09:14.514" v="600" actId="790"/>
          <ac:spMkLst>
            <pc:docMk/>
            <pc:sldMk cId="442938713" sldId="518"/>
            <ac:spMk id="6" creationId="{65BF9C19-CDED-4334-9C8E-3921B758619C}"/>
          </ac:spMkLst>
        </pc:spChg>
        <pc:spChg chg="add mod ord">
          <ac:chgData name="zur bonsen georg" userId="5444515566c7376a" providerId="LiveId" clId="{E2A072EC-0FB7-4427-8947-EFC664D98567}" dt="2022-04-24T20:09:14.514" v="600" actId="790"/>
          <ac:spMkLst>
            <pc:docMk/>
            <pc:sldMk cId="442938713" sldId="518"/>
            <ac:spMk id="7" creationId="{6E6109D1-E304-4D97-AF9A-0A5E7D27B82D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1" creationId="{30F74EE0-149B-4BA3-B080-27885A883204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3" creationId="{61CDD45E-4FE8-4066-91D0-2C183A905726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4" creationId="{681EA0B9-CEB8-4F07-9B28-2252FE4DBAE2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5" creationId="{5D0B4DBB-7692-4801-9109-B66F435C0896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6" creationId="{F9DF5D53-B42B-4F76-8FB9-BC99DB111291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7" creationId="{64B18FC4-0886-4DC5-844F-F1263FF7FCED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8" creationId="{2BFD6B6D-B577-4D1B-9021-B5FE5143B9EB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9" creationId="{20ACDF6D-68F2-4BFB-8896-C0E5E12ED295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49" creationId="{1959789C-3AA8-4621-870C-C4186A695475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0" creationId="{65508B22-62D4-4E93-A7D5-ACC220B288BD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1" creationId="{41BE7FC3-4D78-4A8E-AC86-835F899C0317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2" creationId="{A37036A2-33A2-4FCC-A165-353B80536C8E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3" creationId="{A31F3178-FEA1-4F70-8EAA-D2607B88C63F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4" creationId="{C8FE2F6E-FD59-40AE-B004-459C9F069D17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5" creationId="{6252B87B-96D1-4142-B049-93659EC52377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9" creationId="{91A89384-0D8F-4548-A592-8D9BE7D76F75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60" creationId="{5E1FEF67-ABC5-4373-BA4A-475B216AEB5E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66" creationId="{436B3845-45B6-4226-BE7D-5E304EF34972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67" creationId="{F3EC9EF4-6CB5-4C11-AFB0-452BDEDD18F6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3" creationId="{4FE538E4-2B59-4685-8B61-0302D91138DD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4" creationId="{43470660-8E3F-4972-A23E-69FFDCA836E0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5" creationId="{8A1259D6-7AD0-4AE4-BB23-5E2197EBB878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6" creationId="{A8DB7720-CE66-4AE5-B6C0-B2EBAA908473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8" creationId="{06074B2B-89F4-4DAA-A8F9-0AE1ECDBE1B4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9" creationId="{4C0A20BC-BD5B-4160-A549-9EF41C86469D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80" creationId="{995570BA-35A2-432E-9996-2A3554605267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81" creationId="{D0FCDBB6-9C96-4B00-BC61-5843BDBD06B3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87" creationId="{98D2A44D-3F76-4FCB-8100-D6E3BC3257C7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89" creationId="{EF199C2A-5543-45D5-A443-D813479DD658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90" creationId="{351C833B-3397-43A3-84F1-3571C4FBD7D2}"/>
          </ac:spMkLst>
        </pc:spChg>
        <pc:grpChg chg="del">
          <ac:chgData name="zur bonsen georg" userId="5444515566c7376a" providerId="LiveId" clId="{E2A072EC-0FB7-4427-8947-EFC664D98567}" dt="2022-04-24T20:07:12.750" v="78" actId="478"/>
          <ac:grpSpMkLst>
            <pc:docMk/>
            <pc:sldMk cId="442938713" sldId="518"/>
            <ac:grpSpMk id="11" creationId="{FF9C4564-CDFB-4920-8794-8A0194E904D1}"/>
          </ac:grpSpMkLst>
        </pc:grpChg>
        <pc:cxnChg chg="del">
          <ac:chgData name="zur bonsen georg" userId="5444515566c7376a" providerId="LiveId" clId="{E2A072EC-0FB7-4427-8947-EFC664D98567}" dt="2022-04-24T20:07:12.750" v="78" actId="478"/>
          <ac:cxnSpMkLst>
            <pc:docMk/>
            <pc:sldMk cId="442938713" sldId="518"/>
            <ac:cxnSpMk id="56" creationId="{70ED3584-9528-4C9C-ABA1-C487305D631F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2-04-24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186898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93558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387744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746995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369367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062975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985732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850352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35110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2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o to create PNG (or JPG) files in a unique way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5BF9C19-CDED-4334-9C8E-3921B75861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Step 1:	Copy the contents (without the slide header name)</a:t>
            </a:r>
          </a:p>
          <a:p>
            <a:r>
              <a:rPr lang="en-US"/>
              <a:t>Step 2:	Open Irfanview</a:t>
            </a:r>
          </a:p>
          <a:p>
            <a:r>
              <a:rPr lang="en-US"/>
              <a:t>Step 3:	Paste it in Irfanview</a:t>
            </a:r>
          </a:p>
          <a:p>
            <a:r>
              <a:rPr lang="en-US"/>
              <a:t>Step 4:	Check the horizontal number of pixels.  Shall be at most 1000.</a:t>
            </a:r>
            <a:br>
              <a:rPr lang="en-US"/>
            </a:br>
            <a:r>
              <a:rPr lang="en-US"/>
              <a:t>	An almost full powerPoint page is still less than 1000 pixels</a:t>
            </a:r>
          </a:p>
          <a:p>
            <a:r>
              <a:rPr lang="en-US"/>
              <a:t>Step 4:	Save as PNG or JPG file (without loss-making data compression)</a:t>
            </a:r>
          </a:p>
          <a:p>
            <a:endParaRPr lang="en-US"/>
          </a:p>
          <a:p>
            <a:r>
              <a:rPr lang="en-US"/>
              <a:t>In PowerPoint, it does not matter which view and zoom settins you are using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6109D1-E304-4D97-AF9A-0A5E7D27B8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9387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3B25F4F-FBCF-4C4E-AA15-04F7EA0CB832}"/>
              </a:ext>
            </a:extLst>
          </p:cNvPr>
          <p:cNvSpPr/>
          <p:nvPr/>
        </p:nvSpPr>
        <p:spPr>
          <a:xfrm>
            <a:off x="36000" y="981000"/>
            <a:ext cx="2232000" cy="1728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rt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flective code execu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. control flow functions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566E23E7-F9CA-4744-B890-4CDCF09827FC}"/>
              </a:ext>
            </a:extLst>
          </p:cNvPr>
          <p:cNvSpPr/>
          <p:nvPr/>
        </p:nvSpPr>
        <p:spPr>
          <a:xfrm>
            <a:off x="36000" y="2781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put / Outpu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echo, input, 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clear screen, cursor position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or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382" name="Rechteck 381">
            <a:extLst>
              <a:ext uri="{FF2B5EF4-FFF2-40B4-BE49-F238E27FC236}">
                <a16:creationId xmlns:a16="http://schemas.microsoft.com/office/drawing/2014/main" id="{2715AA32-8EAF-45C8-BE31-703315685336}"/>
              </a:ext>
            </a:extLst>
          </p:cNvPr>
          <p:cNvSpPr/>
          <p:nvPr/>
        </p:nvSpPr>
        <p:spPr>
          <a:xfrm>
            <a:off x="36000" y="4149000"/>
            <a:ext cx="2232000" cy="12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 &amp; Forma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AD1C4384-F554-4025-9591-3A94928D4694}"/>
              </a:ext>
            </a:extLst>
          </p:cNvPr>
          <p:cNvSpPr/>
          <p:nvPr/>
        </p:nvSpPr>
        <p:spPr>
          <a:xfrm>
            <a:off x="2340000" y="981000"/>
            <a:ext cx="22320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EC8EBD0E-614A-41CA-B43C-08F197604B8B}"/>
              </a:ext>
            </a:extLst>
          </p:cNvPr>
          <p:cNvSpPr/>
          <p:nvPr/>
        </p:nvSpPr>
        <p:spPr>
          <a:xfrm>
            <a:off x="2340000" y="249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coding,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func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random strings)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410563D6-851F-43B6-85E5-39C51DBE734E}"/>
              </a:ext>
            </a:extLst>
          </p:cNvPr>
          <p:cNvSpPr/>
          <p:nvPr/>
        </p:nvSpPr>
        <p:spPr>
          <a:xfrm>
            <a:off x="2340000" y="357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functions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weekday from dat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00A816FA-9898-44C1-9E25-33A6764929DF}"/>
              </a:ext>
            </a:extLst>
          </p:cNvPr>
          <p:cNvSpPr/>
          <p:nvPr/>
        </p:nvSpPr>
        <p:spPr>
          <a:xfrm>
            <a:off x="2340000" y="4653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arameter set search &amp;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manipula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transpose)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8C66F0B6-5B68-44DA-A605-A3883BE0ACEF}"/>
              </a:ext>
            </a:extLst>
          </p:cNvPr>
          <p:cNvSpPr/>
          <p:nvPr/>
        </p:nvSpPr>
        <p:spPr>
          <a:xfrm>
            <a:off x="4644000" y="981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e and delet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/ sav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put / output with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listing tables, menus)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8E43557-5919-4BC9-B344-BBF82C0014A9}"/>
              </a:ext>
            </a:extLst>
          </p:cNvPr>
          <p:cNvSpPr/>
          <p:nvPr/>
        </p:nvSpPr>
        <p:spPr>
          <a:xfrm>
            <a:off x="4644000" y="2277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Process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process heade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lum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row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name, copy and split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>
            <a:extLst>
              <a:ext uri="{FF2B5EF4-FFF2-40B4-BE49-F238E27FC236}">
                <a16:creationId xmlns:a16="http://schemas.microsoft.com/office/drawing/2014/main" id="{C0DC8E5A-B1F0-4A2C-B66C-604E4568E713}"/>
              </a:ext>
            </a:extLst>
          </p:cNvPr>
          <p:cNvSpPr/>
          <p:nvPr/>
        </p:nvSpPr>
        <p:spPr>
          <a:xfrm>
            <a:off x="4644000" y="3573000"/>
            <a:ext cx="2232000" cy="10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Advanc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compar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k up from othe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ivoting and consolidat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bining multipl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loring and extracting tables</a:t>
            </a:r>
          </a:p>
        </p:txBody>
      </p:sp>
      <p:sp>
        <p:nvSpPr>
          <p:cNvPr id="424" name="Rechteck 423">
            <a:extLst>
              <a:ext uri="{FF2B5EF4-FFF2-40B4-BE49-F238E27FC236}">
                <a16:creationId xmlns:a16="http://schemas.microsoft.com/office/drawing/2014/main" id="{CA30B6CA-DB3C-403A-85E5-82A8DC5DA1C0}"/>
              </a:ext>
            </a:extLst>
          </p:cNvPr>
          <p:cNvSpPr/>
          <p:nvPr/>
        </p:nvSpPr>
        <p:spPr>
          <a:xfrm>
            <a:off x="4644000" y="4653000"/>
            <a:ext cx="2232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ormatting &amp; Styl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fine colors to u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 tables, rows, columns, cell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lating to file format to save</a:t>
            </a:r>
          </a:p>
        </p:txBody>
      </p:sp>
      <p:sp>
        <p:nvSpPr>
          <p:cNvPr id="425" name="Rechteck 424">
            <a:extLst>
              <a:ext uri="{FF2B5EF4-FFF2-40B4-BE49-F238E27FC236}">
                <a16:creationId xmlns:a16="http://schemas.microsoft.com/office/drawing/2014/main" id="{FD78D88E-B925-4B6C-B1D2-02CDC487C87F}"/>
              </a:ext>
            </a:extLst>
          </p:cNvPr>
          <p:cNvSpPr/>
          <p:nvPr/>
        </p:nvSpPr>
        <p:spPr>
          <a:xfrm>
            <a:off x="6948000" y="981000"/>
            <a:ext cx="2232000" cy="122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JSON format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 functions</a:t>
            </a:r>
          </a:p>
        </p:txBody>
      </p:sp>
      <p:sp>
        <p:nvSpPr>
          <p:cNvPr id="426" name="Rechteck 425">
            <a:extLst>
              <a:ext uri="{FF2B5EF4-FFF2-40B4-BE49-F238E27FC236}">
                <a16:creationId xmlns:a16="http://schemas.microsoft.com/office/drawing/2014/main" id="{C4F78FB8-0471-454E-BCE6-090533527454}"/>
              </a:ext>
            </a:extLst>
          </p:cNvPr>
          <p:cNvSpPr/>
          <p:nvPr/>
        </p:nvSpPr>
        <p:spPr>
          <a:xfrm>
            <a:off x="6948000" y="2277000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sym.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and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compression</a:t>
            </a:r>
          </a:p>
        </p:txBody>
      </p:sp>
      <p:sp>
        <p:nvSpPr>
          <p:cNvPr id="427" name="Rechteck 426">
            <a:extLst>
              <a:ext uri="{FF2B5EF4-FFF2-40B4-BE49-F238E27FC236}">
                <a16:creationId xmlns:a16="http://schemas.microsoft.com/office/drawing/2014/main" id="{BD0E58F2-F6F8-4475-A960-140F76E8DDDF}"/>
              </a:ext>
            </a:extLst>
          </p:cNvPr>
          <p:cNvSpPr/>
          <p:nvPr/>
        </p:nvSpPr>
        <p:spPr>
          <a:xfrm>
            <a:off x="6948000" y="3573000"/>
            <a:ext cx="2232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428" name="Rechteck 427">
            <a:extLst>
              <a:ext uri="{FF2B5EF4-FFF2-40B4-BE49-F238E27FC236}">
                <a16:creationId xmlns:a16="http://schemas.microsoft.com/office/drawing/2014/main" id="{8FC7A6AA-ECC5-40C9-92E7-3E158C71FE5E}"/>
              </a:ext>
            </a:extLst>
          </p:cNvPr>
          <p:cNvSpPr/>
          <p:nvPr/>
        </p:nvSpPr>
        <p:spPr>
          <a:xfrm>
            <a:off x="6948000" y="4653000"/>
            <a:ext cx="2232000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 – local assistan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and access online do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 tables with browsers or tools</a:t>
            </a:r>
          </a:p>
        </p:txBody>
      </p:sp>
    </p:spTree>
    <p:extLst>
      <p:ext uri="{BB962C8B-B14F-4D97-AF65-F5344CB8AC3E}">
        <p14:creationId xmlns:p14="http://schemas.microsoft.com/office/powerpoint/2010/main" val="19499288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FE1916B-A96F-45A4-B2DB-3A890EED082D}"/>
              </a:ext>
            </a:extLst>
          </p:cNvPr>
          <p:cNvSpPr/>
          <p:nvPr/>
        </p:nvSpPr>
        <p:spPr>
          <a:xfrm>
            <a:off x="36000" y="981000"/>
            <a:ext cx="2232000" cy="1440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 err="1">
                <a:solidFill>
                  <a:schemeClr val="tx1"/>
                </a:solidFill>
              </a:rPr>
              <a:t>Lauch</a:t>
            </a:r>
            <a:r>
              <a:rPr lang="en-US" sz="1000" dirty="0">
                <a:solidFill>
                  <a:schemeClr val="tx1"/>
                </a:solidFill>
              </a:rPr>
              <a:t>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de execution function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2C29BE-EAFB-43C6-9803-85E7D0311EC4}"/>
              </a:ext>
            </a:extLst>
          </p:cNvPr>
          <p:cNvSpPr/>
          <p:nvPr/>
        </p:nvSpPr>
        <p:spPr>
          <a:xfrm>
            <a:off x="36000" y="2493000"/>
            <a:ext cx="2232000" cy="79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Consle</a:t>
            </a:r>
            <a:r>
              <a:rPr lang="en-US" sz="1200" b="1" dirty="0">
                <a:solidFill>
                  <a:schemeClr val="tx1"/>
                </a:solidFill>
              </a:rPr>
              <a:t> I/O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 (echo, input, .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45363B-C0D0-4599-967D-C0BE8673F1EA}"/>
              </a:ext>
            </a:extLst>
          </p:cNvPr>
          <p:cNvSpPr/>
          <p:nvPr/>
        </p:nvSpPr>
        <p:spPr>
          <a:xfrm>
            <a:off x="36000" y="3357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. Format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BBB3F0D-3297-4955-B5EA-A06F99C1D8A3}"/>
              </a:ext>
            </a:extLst>
          </p:cNvPr>
          <p:cNvSpPr/>
          <p:nvPr/>
        </p:nvSpPr>
        <p:spPr>
          <a:xfrm>
            <a:off x="2340000" y="981000"/>
            <a:ext cx="2232000" cy="136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8D52D5E-256A-4717-8AE1-F0595B76F937}"/>
              </a:ext>
            </a:extLst>
          </p:cNvPr>
          <p:cNvSpPr/>
          <p:nvPr/>
        </p:nvSpPr>
        <p:spPr>
          <a:xfrm>
            <a:off x="2340000" y="2421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encoding and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string function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3CC33A6-6945-45DB-A371-67D1C2D5FAF9}"/>
              </a:ext>
            </a:extLst>
          </p:cNvPr>
          <p:cNvSpPr/>
          <p:nvPr/>
        </p:nvSpPr>
        <p:spPr>
          <a:xfrm>
            <a:off x="2340000" y="3213000"/>
            <a:ext cx="2232000" cy="936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and reschedul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6D7E4C6-25B6-4558-9727-E5D9F523B3BA}"/>
              </a:ext>
            </a:extLst>
          </p:cNvPr>
          <p:cNvSpPr/>
          <p:nvPr/>
        </p:nvSpPr>
        <p:spPr>
          <a:xfrm>
            <a:off x="2340000" y="4221000"/>
            <a:ext cx="2232000" cy="43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search &amp; extractio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4D45550-7F32-4714-A5D6-1B6484C1B68A}"/>
              </a:ext>
            </a:extLst>
          </p:cNvPr>
          <p:cNvSpPr/>
          <p:nvPr/>
        </p:nvSpPr>
        <p:spPr>
          <a:xfrm>
            <a:off x="4644000" y="981000"/>
            <a:ext cx="2232000" cy="237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I/O wit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ing, writing, reading, dele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ing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ing and explor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trol flow functions fo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Headers, columns, rows, cell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pivoting, consolidating, etc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ulti-table integrat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paring, validating, lookup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combining multiple table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ting and styl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Making the final touch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C6242F2-1362-4166-9177-6B08BB4D8874}"/>
              </a:ext>
            </a:extLst>
          </p:cNvPr>
          <p:cNvSpPr/>
          <p:nvPr/>
        </p:nvSpPr>
        <p:spPr>
          <a:xfrm>
            <a:off x="4644000" y="3429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s function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229E2CC-5971-4446-8F15-1BC04250557A}"/>
              </a:ext>
            </a:extLst>
          </p:cNvPr>
          <p:cNvSpPr/>
          <p:nvPr/>
        </p:nvSpPr>
        <p:spPr>
          <a:xfrm>
            <a:off x="6948000" y="981000"/>
            <a:ext cx="2232000" cy="12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 directory and fi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ie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symolic</a:t>
            </a:r>
            <a:r>
              <a:rPr lang="en-US" sz="1000" dirty="0">
                <a:solidFill>
                  <a:schemeClr val="tx1"/>
                </a:solidFill>
              </a:rPr>
              <a:t>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&amp; decompressio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241ADF3-C154-4DFE-9485-79E26D04FEA4}"/>
              </a:ext>
            </a:extLst>
          </p:cNvPr>
          <p:cNvSpPr/>
          <p:nvPr/>
        </p:nvSpPr>
        <p:spPr>
          <a:xfrm>
            <a:off x="6931680" y="2349000"/>
            <a:ext cx="2232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F9F0305-B84F-45BF-805A-5963757D46A7}"/>
              </a:ext>
            </a:extLst>
          </p:cNvPr>
          <p:cNvSpPr/>
          <p:nvPr/>
        </p:nvSpPr>
        <p:spPr>
          <a:xfrm>
            <a:off x="6948000" y="3213000"/>
            <a:ext cx="2232000" cy="144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ocs, docs search (on-line doc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, view re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 / explain / dump functions</a:t>
            </a:r>
          </a:p>
        </p:txBody>
      </p:sp>
    </p:spTree>
    <p:extLst>
      <p:ext uri="{BB962C8B-B14F-4D97-AF65-F5344CB8AC3E}">
        <p14:creationId xmlns:p14="http://schemas.microsoft.com/office/powerpoint/2010/main" val="1644476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7740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0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241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6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7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4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26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5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126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9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71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48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500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6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702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78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0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241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126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6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737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6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2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40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0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126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241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356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471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586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702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817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>
            <a:extLst>
              <a:ext uri="{FF2B5EF4-FFF2-40B4-BE49-F238E27FC236}">
                <a16:creationId xmlns:a16="http://schemas.microsoft.com/office/drawing/2014/main" id="{D7C282CA-03E0-432E-90D2-46A21ADDEB6B}"/>
              </a:ext>
            </a:extLst>
          </p:cNvPr>
          <p:cNvSpPr/>
          <p:nvPr/>
        </p:nvSpPr>
        <p:spPr>
          <a:xfrm>
            <a:off x="540000" y="5733000"/>
            <a:ext cx="8496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Basics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DBFE104-73F4-4BA9-A3EF-E0F1D3D78B3B}"/>
              </a:ext>
            </a:extLst>
          </p:cNvPr>
          <p:cNvSpPr/>
          <p:nvPr/>
        </p:nvSpPr>
        <p:spPr>
          <a:xfrm>
            <a:off x="540000" y="5229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lues an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Basic Data Types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E0E2376-6D13-4DDE-9364-CF47A8A51392}"/>
              </a:ext>
            </a:extLst>
          </p:cNvPr>
          <p:cNvSpPr/>
          <p:nvPr/>
        </p:nvSpPr>
        <p:spPr>
          <a:xfrm>
            <a:off x="540000" y="4725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Key Objects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E468455B-7FD0-4EFE-B29D-9815F3D10ADD}"/>
              </a:ext>
            </a:extLst>
          </p:cNvPr>
          <p:cNvSpPr/>
          <p:nvPr/>
        </p:nvSpPr>
        <p:spPr>
          <a:xfrm>
            <a:off x="540000" y="4221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nction Call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CF876EC3-C55E-4ADE-B4B5-52D24FD7AA60}"/>
              </a:ext>
            </a:extLst>
          </p:cNvPr>
          <p:cNvSpPr/>
          <p:nvPr/>
        </p:nvSpPr>
        <p:spPr>
          <a:xfrm>
            <a:off x="540000" y="3717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lculations and Comparisons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CC0399D-17F5-4015-863B-0EC1D5A2291E}"/>
              </a:ext>
            </a:extLst>
          </p:cNvPr>
          <p:cNvSpPr/>
          <p:nvPr/>
        </p:nvSpPr>
        <p:spPr>
          <a:xfrm>
            <a:off x="540000" y="3429000"/>
            <a:ext cx="8496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pressions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CB9C0CD7-0523-4FC2-BAC1-403F4784D435}"/>
              </a:ext>
            </a:extLst>
          </p:cNvPr>
          <p:cNvSpPr/>
          <p:nvPr/>
        </p:nvSpPr>
        <p:spPr>
          <a:xfrm>
            <a:off x="540000" y="2493000"/>
            <a:ext cx="8496000" cy="8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D74EEDAB-9C7B-497C-9AE9-2B40C560D2FF}"/>
              </a:ext>
            </a:extLst>
          </p:cNvPr>
          <p:cNvSpPr/>
          <p:nvPr/>
        </p:nvSpPr>
        <p:spPr>
          <a:xfrm>
            <a:off x="540000" y="2205000"/>
            <a:ext cx="8496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verall Language Structure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6E8CDEE8-8744-46BF-ADBE-5DBFE1910F6C}"/>
              </a:ext>
            </a:extLst>
          </p:cNvPr>
          <p:cNvSpPr/>
          <p:nvPr/>
        </p:nvSpPr>
        <p:spPr>
          <a:xfrm>
            <a:off x="540000" y="1053000"/>
            <a:ext cx="849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gram Files Top Level</a:t>
            </a:r>
          </a:p>
        </p:txBody>
      </p:sp>
      <p:sp>
        <p:nvSpPr>
          <p:cNvPr id="92" name="Freihandform: Form 91">
            <a:extLst>
              <a:ext uri="{FF2B5EF4-FFF2-40B4-BE49-F238E27FC236}">
                <a16:creationId xmlns:a16="http://schemas.microsoft.com/office/drawing/2014/main" id="{35491E2C-336A-455A-844B-E7F6A785097D}"/>
              </a:ext>
            </a:extLst>
          </p:cNvPr>
          <p:cNvSpPr/>
          <p:nvPr/>
        </p:nvSpPr>
        <p:spPr>
          <a:xfrm>
            <a:off x="4565739" y="1053000"/>
            <a:ext cx="1596522" cy="1080000"/>
          </a:xfrm>
          <a:custGeom>
            <a:avLst/>
            <a:gdLst>
              <a:gd name="connsiteX0" fmla="*/ 798261 w 1596522"/>
              <a:gd name="connsiteY0" fmla="*/ 0 h 1080000"/>
              <a:gd name="connsiteX1" fmla="*/ 1596522 w 1596522"/>
              <a:gd name="connsiteY1" fmla="*/ 1080000 h 1080000"/>
              <a:gd name="connsiteX2" fmla="*/ 0 w 1596522"/>
              <a:gd name="connsiteY2" fmla="*/ 1080000 h 1080000"/>
              <a:gd name="connsiteX3" fmla="*/ 798261 w 1596522"/>
              <a:gd name="connsiteY3" fmla="*/ 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6522" h="1080000">
                <a:moveTo>
                  <a:pt x="798261" y="0"/>
                </a:moveTo>
                <a:lnTo>
                  <a:pt x="1596522" y="1080000"/>
                </a:lnTo>
                <a:lnTo>
                  <a:pt x="0" y="1080000"/>
                </a:lnTo>
                <a:lnTo>
                  <a:pt x="798261" y="0"/>
                </a:lnTo>
                <a:close/>
              </a:path>
            </a:pathLst>
          </a:custGeom>
          <a:solidFill>
            <a:srgbClr val="E5E5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Freihandform: Form 92">
            <a:extLst>
              <a:ext uri="{FF2B5EF4-FFF2-40B4-BE49-F238E27FC236}">
                <a16:creationId xmlns:a16="http://schemas.microsoft.com/office/drawing/2014/main" id="{D568A228-18DC-4D4F-AE7F-18EF2142D8FC}"/>
              </a:ext>
            </a:extLst>
          </p:cNvPr>
          <p:cNvSpPr/>
          <p:nvPr/>
        </p:nvSpPr>
        <p:spPr>
          <a:xfrm>
            <a:off x="4352871" y="2205000"/>
            <a:ext cx="2022261" cy="216000"/>
          </a:xfrm>
          <a:custGeom>
            <a:avLst/>
            <a:gdLst>
              <a:gd name="connsiteX0" fmla="*/ 159652 w 2022261"/>
              <a:gd name="connsiteY0" fmla="*/ 0 h 216000"/>
              <a:gd name="connsiteX1" fmla="*/ 1862609 w 2022261"/>
              <a:gd name="connsiteY1" fmla="*/ 0 h 216000"/>
              <a:gd name="connsiteX2" fmla="*/ 2022261 w 2022261"/>
              <a:gd name="connsiteY2" fmla="*/ 216000 h 216000"/>
              <a:gd name="connsiteX3" fmla="*/ 0 w 2022261"/>
              <a:gd name="connsiteY3" fmla="*/ 216000 h 216000"/>
              <a:gd name="connsiteX4" fmla="*/ 159652 w 2022261"/>
              <a:gd name="connsiteY4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22261" h="216000">
                <a:moveTo>
                  <a:pt x="159652" y="0"/>
                </a:moveTo>
                <a:lnTo>
                  <a:pt x="1862609" y="0"/>
                </a:lnTo>
                <a:lnTo>
                  <a:pt x="2022261" y="216000"/>
                </a:lnTo>
                <a:lnTo>
                  <a:pt x="0" y="216000"/>
                </a:lnTo>
                <a:lnTo>
                  <a:pt x="159652" y="0"/>
                </a:lnTo>
                <a:close/>
              </a:path>
            </a:pathLst>
          </a:cu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Freihandform: Form 93">
            <a:extLst>
              <a:ext uri="{FF2B5EF4-FFF2-40B4-BE49-F238E27FC236}">
                <a16:creationId xmlns:a16="http://schemas.microsoft.com/office/drawing/2014/main" id="{A34DCA84-5437-4953-A41F-7D1F8BBEDDAE}"/>
              </a:ext>
            </a:extLst>
          </p:cNvPr>
          <p:cNvSpPr/>
          <p:nvPr/>
        </p:nvSpPr>
        <p:spPr>
          <a:xfrm>
            <a:off x="3661045" y="2493000"/>
            <a:ext cx="3405913" cy="864000"/>
          </a:xfrm>
          <a:custGeom>
            <a:avLst/>
            <a:gdLst>
              <a:gd name="connsiteX0" fmla="*/ 638608 w 3405913"/>
              <a:gd name="connsiteY0" fmla="*/ 0 h 864000"/>
              <a:gd name="connsiteX1" fmla="*/ 2767304 w 3405913"/>
              <a:gd name="connsiteY1" fmla="*/ 0 h 864000"/>
              <a:gd name="connsiteX2" fmla="*/ 3405913 w 3405913"/>
              <a:gd name="connsiteY2" fmla="*/ 864000 h 864000"/>
              <a:gd name="connsiteX3" fmla="*/ 0 w 3405913"/>
              <a:gd name="connsiteY3" fmla="*/ 864000 h 864000"/>
              <a:gd name="connsiteX4" fmla="*/ 638608 w 3405913"/>
              <a:gd name="connsiteY4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5913" h="864000">
                <a:moveTo>
                  <a:pt x="638608" y="0"/>
                </a:moveTo>
                <a:lnTo>
                  <a:pt x="2767304" y="0"/>
                </a:lnTo>
                <a:lnTo>
                  <a:pt x="3405913" y="864000"/>
                </a:lnTo>
                <a:lnTo>
                  <a:pt x="0" y="864000"/>
                </a:lnTo>
                <a:lnTo>
                  <a:pt x="638608" y="0"/>
                </a:lnTo>
                <a:close/>
              </a:path>
            </a:pathLst>
          </a:cu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Freihandform: Form 98">
            <a:extLst>
              <a:ext uri="{FF2B5EF4-FFF2-40B4-BE49-F238E27FC236}">
                <a16:creationId xmlns:a16="http://schemas.microsoft.com/office/drawing/2014/main" id="{A698C1F8-199C-4FB3-BB50-DDCB9059E9DE}"/>
              </a:ext>
            </a:extLst>
          </p:cNvPr>
          <p:cNvSpPr/>
          <p:nvPr/>
        </p:nvSpPr>
        <p:spPr>
          <a:xfrm>
            <a:off x="3448174" y="3429000"/>
            <a:ext cx="3831652" cy="216000"/>
          </a:xfrm>
          <a:custGeom>
            <a:avLst/>
            <a:gdLst>
              <a:gd name="connsiteX0" fmla="*/ 159652 w 3831652"/>
              <a:gd name="connsiteY0" fmla="*/ 0 h 216000"/>
              <a:gd name="connsiteX1" fmla="*/ 3672000 w 3831652"/>
              <a:gd name="connsiteY1" fmla="*/ 0 h 216000"/>
              <a:gd name="connsiteX2" fmla="*/ 3831652 w 3831652"/>
              <a:gd name="connsiteY2" fmla="*/ 216000 h 216000"/>
              <a:gd name="connsiteX3" fmla="*/ 0 w 3831652"/>
              <a:gd name="connsiteY3" fmla="*/ 216000 h 216000"/>
              <a:gd name="connsiteX4" fmla="*/ 159652 w 3831652"/>
              <a:gd name="connsiteY4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1652" h="216000">
                <a:moveTo>
                  <a:pt x="159652" y="0"/>
                </a:moveTo>
                <a:lnTo>
                  <a:pt x="3672000" y="0"/>
                </a:lnTo>
                <a:lnTo>
                  <a:pt x="3831652" y="216000"/>
                </a:lnTo>
                <a:lnTo>
                  <a:pt x="0" y="216000"/>
                </a:lnTo>
                <a:lnTo>
                  <a:pt x="159652" y="0"/>
                </a:lnTo>
                <a:close/>
              </a:path>
            </a:pathLst>
          </a:custGeom>
          <a:solidFill>
            <a:srgbClr val="C1E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Freihandform: Form 104">
            <a:extLst>
              <a:ext uri="{FF2B5EF4-FFF2-40B4-BE49-F238E27FC236}">
                <a16:creationId xmlns:a16="http://schemas.microsoft.com/office/drawing/2014/main" id="{8E8E6FDA-300F-460E-8FEC-6E3085517C9B}"/>
              </a:ext>
            </a:extLst>
          </p:cNvPr>
          <p:cNvSpPr/>
          <p:nvPr/>
        </p:nvSpPr>
        <p:spPr>
          <a:xfrm>
            <a:off x="3075652" y="3717000"/>
            <a:ext cx="4576696" cy="432000"/>
          </a:xfrm>
          <a:custGeom>
            <a:avLst/>
            <a:gdLst>
              <a:gd name="connsiteX0" fmla="*/ 319305 w 4576696"/>
              <a:gd name="connsiteY0" fmla="*/ 0 h 432000"/>
              <a:gd name="connsiteX1" fmla="*/ 4257392 w 4576696"/>
              <a:gd name="connsiteY1" fmla="*/ 0 h 432000"/>
              <a:gd name="connsiteX2" fmla="*/ 4576696 w 4576696"/>
              <a:gd name="connsiteY2" fmla="*/ 432000 h 432000"/>
              <a:gd name="connsiteX3" fmla="*/ 0 w 4576696"/>
              <a:gd name="connsiteY3" fmla="*/ 432000 h 432000"/>
              <a:gd name="connsiteX4" fmla="*/ 319305 w 457669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6696" h="432000">
                <a:moveTo>
                  <a:pt x="319305" y="0"/>
                </a:moveTo>
                <a:lnTo>
                  <a:pt x="4257392" y="0"/>
                </a:lnTo>
                <a:lnTo>
                  <a:pt x="4576696" y="432000"/>
                </a:lnTo>
                <a:lnTo>
                  <a:pt x="0" y="432000"/>
                </a:lnTo>
                <a:lnTo>
                  <a:pt x="319305" y="0"/>
                </a:lnTo>
                <a:close/>
              </a:path>
            </a:pathLst>
          </a:custGeom>
          <a:solidFill>
            <a:srgbClr val="99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6" name="Freihandform: Form 105">
            <a:extLst>
              <a:ext uri="{FF2B5EF4-FFF2-40B4-BE49-F238E27FC236}">
                <a16:creationId xmlns:a16="http://schemas.microsoft.com/office/drawing/2014/main" id="{BB504CEA-D9B8-4E12-8D94-D86CD7632D65}"/>
              </a:ext>
            </a:extLst>
          </p:cNvPr>
          <p:cNvSpPr/>
          <p:nvPr/>
        </p:nvSpPr>
        <p:spPr>
          <a:xfrm>
            <a:off x="2703132" y="4221000"/>
            <a:ext cx="5321739" cy="432000"/>
          </a:xfrm>
          <a:custGeom>
            <a:avLst/>
            <a:gdLst>
              <a:gd name="connsiteX0" fmla="*/ 319304 w 5321739"/>
              <a:gd name="connsiteY0" fmla="*/ 0 h 432000"/>
              <a:gd name="connsiteX1" fmla="*/ 5002434 w 5321739"/>
              <a:gd name="connsiteY1" fmla="*/ 0 h 432000"/>
              <a:gd name="connsiteX2" fmla="*/ 5321739 w 5321739"/>
              <a:gd name="connsiteY2" fmla="*/ 432000 h 432000"/>
              <a:gd name="connsiteX3" fmla="*/ 0 w 5321739"/>
              <a:gd name="connsiteY3" fmla="*/ 432000 h 432000"/>
              <a:gd name="connsiteX4" fmla="*/ 319304 w 5321739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739" h="432000">
                <a:moveTo>
                  <a:pt x="319304" y="0"/>
                </a:moveTo>
                <a:lnTo>
                  <a:pt x="5002434" y="0"/>
                </a:lnTo>
                <a:lnTo>
                  <a:pt x="5321739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rgbClr val="69B4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Freihandform: Form 112">
            <a:extLst>
              <a:ext uri="{FF2B5EF4-FFF2-40B4-BE49-F238E27FC236}">
                <a16:creationId xmlns:a16="http://schemas.microsoft.com/office/drawing/2014/main" id="{676EFBA8-330D-49EE-A600-C5EE81C07661}"/>
              </a:ext>
            </a:extLst>
          </p:cNvPr>
          <p:cNvSpPr/>
          <p:nvPr/>
        </p:nvSpPr>
        <p:spPr>
          <a:xfrm>
            <a:off x="2330610" y="4725000"/>
            <a:ext cx="6066783" cy="432000"/>
          </a:xfrm>
          <a:custGeom>
            <a:avLst/>
            <a:gdLst>
              <a:gd name="connsiteX0" fmla="*/ 319304 w 6066783"/>
              <a:gd name="connsiteY0" fmla="*/ 0 h 432000"/>
              <a:gd name="connsiteX1" fmla="*/ 5747478 w 6066783"/>
              <a:gd name="connsiteY1" fmla="*/ 0 h 432000"/>
              <a:gd name="connsiteX2" fmla="*/ 6066783 w 6066783"/>
              <a:gd name="connsiteY2" fmla="*/ 432000 h 432000"/>
              <a:gd name="connsiteX3" fmla="*/ 0 w 6066783"/>
              <a:gd name="connsiteY3" fmla="*/ 432000 h 432000"/>
              <a:gd name="connsiteX4" fmla="*/ 319304 w 6066783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6783" h="432000">
                <a:moveTo>
                  <a:pt x="319304" y="0"/>
                </a:moveTo>
                <a:lnTo>
                  <a:pt x="5747478" y="0"/>
                </a:lnTo>
                <a:lnTo>
                  <a:pt x="6066783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3DA04AD8-6FFA-4120-B8CB-96631CA4F6EC}"/>
              </a:ext>
            </a:extLst>
          </p:cNvPr>
          <p:cNvSpPr/>
          <p:nvPr/>
        </p:nvSpPr>
        <p:spPr>
          <a:xfrm>
            <a:off x="1958087" y="5229000"/>
            <a:ext cx="6811826" cy="432000"/>
          </a:xfrm>
          <a:custGeom>
            <a:avLst/>
            <a:gdLst>
              <a:gd name="connsiteX0" fmla="*/ 319304 w 6811826"/>
              <a:gd name="connsiteY0" fmla="*/ 0 h 432000"/>
              <a:gd name="connsiteX1" fmla="*/ 6492522 w 6811826"/>
              <a:gd name="connsiteY1" fmla="*/ 0 h 432000"/>
              <a:gd name="connsiteX2" fmla="*/ 6811826 w 6811826"/>
              <a:gd name="connsiteY2" fmla="*/ 432000 h 432000"/>
              <a:gd name="connsiteX3" fmla="*/ 0 w 6811826"/>
              <a:gd name="connsiteY3" fmla="*/ 432000 h 432000"/>
              <a:gd name="connsiteX4" fmla="*/ 319304 w 681182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11826" h="432000">
                <a:moveTo>
                  <a:pt x="319304" y="0"/>
                </a:moveTo>
                <a:lnTo>
                  <a:pt x="6492522" y="0"/>
                </a:lnTo>
                <a:lnTo>
                  <a:pt x="6811826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Freihandform: Form 117">
            <a:extLst>
              <a:ext uri="{FF2B5EF4-FFF2-40B4-BE49-F238E27FC236}">
                <a16:creationId xmlns:a16="http://schemas.microsoft.com/office/drawing/2014/main" id="{D61B8508-F712-4996-95BB-E6F99C77E3AB}"/>
              </a:ext>
            </a:extLst>
          </p:cNvPr>
          <p:cNvSpPr/>
          <p:nvPr/>
        </p:nvSpPr>
        <p:spPr>
          <a:xfrm>
            <a:off x="1692000" y="5728765"/>
            <a:ext cx="7344000" cy="292235"/>
          </a:xfrm>
          <a:custGeom>
            <a:avLst/>
            <a:gdLst>
              <a:gd name="connsiteX0" fmla="*/ 216000 w 7344000"/>
              <a:gd name="connsiteY0" fmla="*/ 0 h 292235"/>
              <a:gd name="connsiteX1" fmla="*/ 216000 w 7344000"/>
              <a:gd name="connsiteY1" fmla="*/ 4235 h 292235"/>
              <a:gd name="connsiteX2" fmla="*/ 7131130 w 7344000"/>
              <a:gd name="connsiteY2" fmla="*/ 4235 h 292235"/>
              <a:gd name="connsiteX3" fmla="*/ 7344000 w 7344000"/>
              <a:gd name="connsiteY3" fmla="*/ 292235 h 292235"/>
              <a:gd name="connsiteX4" fmla="*/ 0 w 7344000"/>
              <a:gd name="connsiteY4" fmla="*/ 292235 h 292235"/>
              <a:gd name="connsiteX5" fmla="*/ 216000 w 7344000"/>
              <a:gd name="connsiteY5" fmla="*/ 0 h 29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44000" h="292235">
                <a:moveTo>
                  <a:pt x="216000" y="0"/>
                </a:moveTo>
                <a:lnTo>
                  <a:pt x="216000" y="4235"/>
                </a:lnTo>
                <a:lnTo>
                  <a:pt x="7131130" y="4235"/>
                </a:lnTo>
                <a:lnTo>
                  <a:pt x="7344000" y="292235"/>
                </a:lnTo>
                <a:lnTo>
                  <a:pt x="0" y="292235"/>
                </a:lnTo>
                <a:lnTo>
                  <a:pt x="216000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Pyramid_Basics.png</a:t>
            </a:r>
            <a:br>
              <a:rPr lang="en-US" dirty="0"/>
            </a:br>
            <a:endParaRPr lang="en-US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046A89F-E586-4B65-833B-B056A52959D5}"/>
              </a:ext>
            </a:extLst>
          </p:cNvPr>
          <p:cNvSpPr/>
          <p:nvPr/>
        </p:nvSpPr>
        <p:spPr>
          <a:xfrm>
            <a:off x="1908000" y="5661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59D6DF6A-90B4-4CE3-AF8D-19DBC262DF35}"/>
              </a:ext>
            </a:extLst>
          </p:cNvPr>
          <p:cNvSpPr/>
          <p:nvPr/>
        </p:nvSpPr>
        <p:spPr>
          <a:xfrm>
            <a:off x="1908000" y="2421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A6A6686-7669-4E63-8D4C-551D23F14592}"/>
              </a:ext>
            </a:extLst>
          </p:cNvPr>
          <p:cNvSpPr/>
          <p:nvPr/>
        </p:nvSpPr>
        <p:spPr>
          <a:xfrm>
            <a:off x="1908000" y="2133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24EADCBD-36BA-455B-9DA5-C3EA6132198B}"/>
              </a:ext>
            </a:extLst>
          </p:cNvPr>
          <p:cNvSpPr/>
          <p:nvPr/>
        </p:nvSpPr>
        <p:spPr>
          <a:xfrm>
            <a:off x="4860000" y="13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4P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rograms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7D2C2B39-C74C-421A-972B-4BBF9B6796F3}"/>
              </a:ext>
            </a:extLst>
          </p:cNvPr>
          <p:cNvSpPr/>
          <p:nvPr/>
        </p:nvSpPr>
        <p:spPr>
          <a:xfrm>
            <a:off x="4572000" y="1845000"/>
            <a:ext cx="154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Function Libraries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B2BE8EB-3FF3-4D8B-98EB-75AE6CE91B7F}"/>
              </a:ext>
            </a:extLst>
          </p:cNvPr>
          <p:cNvSpPr/>
          <p:nvPr/>
        </p:nvSpPr>
        <p:spPr>
          <a:xfrm>
            <a:off x="2484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E699835E-791E-4EE6-90C5-4F747C440860}"/>
              </a:ext>
            </a:extLst>
          </p:cNvPr>
          <p:cNvSpPr/>
          <p:nvPr/>
        </p:nvSpPr>
        <p:spPr>
          <a:xfrm>
            <a:off x="3708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297C2DF-28DE-418C-8B2F-3AA00F6A167D}"/>
              </a:ext>
            </a:extLst>
          </p:cNvPr>
          <p:cNvSpPr/>
          <p:nvPr/>
        </p:nvSpPr>
        <p:spPr>
          <a:xfrm>
            <a:off x="5940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ymbols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27ECAD0F-6088-4E3F-A5C6-0A315AC6440A}"/>
              </a:ext>
            </a:extLst>
          </p:cNvPr>
          <p:cNvSpPr/>
          <p:nvPr/>
        </p:nvSpPr>
        <p:spPr>
          <a:xfrm>
            <a:off x="7308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mments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650F46B-68FE-467B-A67C-65354DE5EFC8}"/>
              </a:ext>
            </a:extLst>
          </p:cNvPr>
          <p:cNvSpPr/>
          <p:nvPr/>
        </p:nvSpPr>
        <p:spPr>
          <a:xfrm>
            <a:off x="4860000" y="580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haracter Set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A1501889-DF3B-413D-8BF2-F9085FFD27A9}"/>
              </a:ext>
            </a:extLst>
          </p:cNvPr>
          <p:cNvSpPr/>
          <p:nvPr/>
        </p:nvSpPr>
        <p:spPr>
          <a:xfrm>
            <a:off x="4212000" y="220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locks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C161AAA1-F453-49C0-8095-E72264352C0E}"/>
              </a:ext>
            </a:extLst>
          </p:cNvPr>
          <p:cNvSpPr/>
          <p:nvPr/>
        </p:nvSpPr>
        <p:spPr>
          <a:xfrm>
            <a:off x="5220000" y="220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A45AF967-822E-4103-852D-168CE2E5153B}"/>
              </a:ext>
            </a:extLst>
          </p:cNvPr>
          <p:cNvSpPr/>
          <p:nvPr/>
        </p:nvSpPr>
        <p:spPr>
          <a:xfrm>
            <a:off x="4068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673E06C-21EA-4533-B3C6-26AF672E1587}"/>
              </a:ext>
            </a:extLst>
          </p:cNvPr>
          <p:cNvSpPr/>
          <p:nvPr/>
        </p:nvSpPr>
        <p:spPr>
          <a:xfrm>
            <a:off x="3996000" y="278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ntrol Flow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8B13D5CF-57EF-457A-9962-ED8814EA3851}"/>
              </a:ext>
            </a:extLst>
          </p:cNvPr>
          <p:cNvSpPr/>
          <p:nvPr/>
        </p:nvSpPr>
        <p:spPr>
          <a:xfrm>
            <a:off x="5364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5AB34E7-371E-4C85-B4D8-731F3244EE03}"/>
              </a:ext>
            </a:extLst>
          </p:cNvPr>
          <p:cNvSpPr/>
          <p:nvPr/>
        </p:nvSpPr>
        <p:spPr>
          <a:xfrm>
            <a:off x="5724000" y="278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ransac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5F811C55-C066-4D33-A253-5A901D75DDEC}"/>
              </a:ext>
            </a:extLst>
          </p:cNvPr>
          <p:cNvSpPr/>
          <p:nvPr/>
        </p:nvSpPr>
        <p:spPr>
          <a:xfrm>
            <a:off x="4644000" y="422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Function Call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654BC8F4-365C-4AFC-91A5-AC7FE1356F0C}"/>
              </a:ext>
            </a:extLst>
          </p:cNvPr>
          <p:cNvSpPr/>
          <p:nvPr/>
        </p:nvSpPr>
        <p:spPr>
          <a:xfrm>
            <a:off x="3132000" y="4437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Function Parameter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90BDBA5A-3D0E-47A3-B284-CEF26F60B1B0}"/>
              </a:ext>
            </a:extLst>
          </p:cNvPr>
          <p:cNvSpPr/>
          <p:nvPr/>
        </p:nvSpPr>
        <p:spPr>
          <a:xfrm>
            <a:off x="1908000" y="4149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3C45C2E-950A-43A4-955E-B7837A1957E5}"/>
              </a:ext>
            </a:extLst>
          </p:cNvPr>
          <p:cNvSpPr/>
          <p:nvPr/>
        </p:nvSpPr>
        <p:spPr>
          <a:xfrm>
            <a:off x="6012000" y="47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4B6288E5-5141-4C33-A87C-4BEA2577B312}"/>
              </a:ext>
            </a:extLst>
          </p:cNvPr>
          <p:cNvSpPr/>
          <p:nvPr/>
        </p:nvSpPr>
        <p:spPr>
          <a:xfrm>
            <a:off x="3348000" y="47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876A4DD-C6B9-4911-95AE-A1BDFC478F6E}"/>
              </a:ext>
            </a:extLst>
          </p:cNvPr>
          <p:cNvSpPr/>
          <p:nvPr/>
        </p:nvSpPr>
        <p:spPr>
          <a:xfrm>
            <a:off x="6156000" y="443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de Fragments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24A7322F-FDF6-41F4-A1B5-4739450DDE81}"/>
              </a:ext>
            </a:extLst>
          </p:cNvPr>
          <p:cNvSpPr/>
          <p:nvPr/>
        </p:nvSpPr>
        <p:spPr>
          <a:xfrm>
            <a:off x="1908000" y="5157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4FA8C883-FC7E-4903-8C53-43AF5E6B216A}"/>
              </a:ext>
            </a:extLst>
          </p:cNvPr>
          <p:cNvSpPr/>
          <p:nvPr/>
        </p:nvSpPr>
        <p:spPr>
          <a:xfrm>
            <a:off x="2268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Numerals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CD73203E-F856-4AB1-BD01-006A1C4DA755}"/>
              </a:ext>
            </a:extLst>
          </p:cNvPr>
          <p:cNvSpPr/>
          <p:nvPr/>
        </p:nvSpPr>
        <p:spPr>
          <a:xfrm>
            <a:off x="3492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rings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D9E524F6-DEDE-40A9-AAC7-E7013ED2F6F9}"/>
              </a:ext>
            </a:extLst>
          </p:cNvPr>
          <p:cNvSpPr/>
          <p:nvPr/>
        </p:nvSpPr>
        <p:spPr>
          <a:xfrm>
            <a:off x="4788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ooleans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B97C9082-A171-4F93-89EE-C286EE6C509C}"/>
              </a:ext>
            </a:extLst>
          </p:cNvPr>
          <p:cNvSpPr/>
          <p:nvPr/>
        </p:nvSpPr>
        <p:spPr>
          <a:xfrm>
            <a:off x="6012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Dates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09712B9-1A6D-42B9-8683-72AA648F7FCE}"/>
              </a:ext>
            </a:extLst>
          </p:cNvPr>
          <p:cNvSpPr/>
          <p:nvPr/>
        </p:nvSpPr>
        <p:spPr>
          <a:xfrm>
            <a:off x="4788000" y="5229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FE983-4976-4C8B-88F0-B563C8E71F08}"/>
              </a:ext>
            </a:extLst>
          </p:cNvPr>
          <p:cNvSpPr/>
          <p:nvPr/>
        </p:nvSpPr>
        <p:spPr>
          <a:xfrm>
            <a:off x="7380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Voids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653CB6D-C51F-4D27-A010-85080B6CF3C8}"/>
              </a:ext>
            </a:extLst>
          </p:cNvPr>
          <p:cNvSpPr/>
          <p:nvPr/>
        </p:nvSpPr>
        <p:spPr>
          <a:xfrm>
            <a:off x="5220000" y="49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6EEB48F0-9767-4B6E-8752-5D32AC4B5587}"/>
              </a:ext>
            </a:extLst>
          </p:cNvPr>
          <p:cNvSpPr/>
          <p:nvPr/>
        </p:nvSpPr>
        <p:spPr>
          <a:xfrm>
            <a:off x="6876000" y="49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77BE7FB-FA68-43E1-986A-F243BFD806BC}"/>
              </a:ext>
            </a:extLst>
          </p:cNvPr>
          <p:cNvSpPr/>
          <p:nvPr/>
        </p:nvSpPr>
        <p:spPr>
          <a:xfrm>
            <a:off x="4932000" y="2997000"/>
            <a:ext cx="864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andalone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d-hoc Operations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883378-1B0D-4E32-BBF2-A3D8BBD4621E}"/>
              </a:ext>
            </a:extLst>
          </p:cNvPr>
          <p:cNvSpPr/>
          <p:nvPr/>
        </p:nvSpPr>
        <p:spPr>
          <a:xfrm>
            <a:off x="3708000" y="34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LHS Expressions *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BDF35AB9-BEB8-426F-91C3-EE70A8B8E5A7}"/>
              </a:ext>
            </a:extLst>
          </p:cNvPr>
          <p:cNvSpPr/>
          <p:nvPr/>
        </p:nvSpPr>
        <p:spPr>
          <a:xfrm>
            <a:off x="5580000" y="34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RHS Expressions *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21C2135-4099-490D-B8F0-B1CF2F71C05B}"/>
              </a:ext>
            </a:extLst>
          </p:cNvPr>
          <p:cNvSpPr/>
          <p:nvPr/>
        </p:nvSpPr>
        <p:spPr>
          <a:xfrm>
            <a:off x="1908000" y="3357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16F5CE86-CF18-47F5-8E97-AA127F11F262}"/>
              </a:ext>
            </a:extLst>
          </p:cNvPr>
          <p:cNvSpPr/>
          <p:nvPr/>
        </p:nvSpPr>
        <p:spPr>
          <a:xfrm>
            <a:off x="1908000" y="3645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3D1935B-2F88-4B27-A250-B7A19EB0DD0E}"/>
              </a:ext>
            </a:extLst>
          </p:cNvPr>
          <p:cNvSpPr/>
          <p:nvPr/>
        </p:nvSpPr>
        <p:spPr>
          <a:xfrm>
            <a:off x="1980000" y="4653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E50990EA-EDBD-44C2-A1C9-466ED8B1F00A}"/>
              </a:ext>
            </a:extLst>
          </p:cNvPr>
          <p:cNvSpPr/>
          <p:nvPr/>
        </p:nvSpPr>
        <p:spPr>
          <a:xfrm>
            <a:off x="6372000" y="371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arentheses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ACD7D9C-0C85-4147-AF12-031603C2F2BF}"/>
              </a:ext>
            </a:extLst>
          </p:cNvPr>
          <p:cNvSpPr/>
          <p:nvPr/>
        </p:nvSpPr>
        <p:spPr>
          <a:xfrm>
            <a:off x="3348000" y="371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mparisons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40BAE191-3136-45FE-B517-34A86D34CB92}"/>
              </a:ext>
            </a:extLst>
          </p:cNvPr>
          <p:cNvSpPr/>
          <p:nvPr/>
        </p:nvSpPr>
        <p:spPr>
          <a:xfrm>
            <a:off x="4860000" y="371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Operations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CD145C06-E09C-463F-B390-D48FB9684BB2}"/>
              </a:ext>
            </a:extLst>
          </p:cNvPr>
          <p:cNvSpPr/>
          <p:nvPr/>
        </p:nvSpPr>
        <p:spPr>
          <a:xfrm>
            <a:off x="4068000" y="393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Unary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7301D8F5-AA49-468A-9CEC-1B5B26F2E790}"/>
              </a:ext>
            </a:extLst>
          </p:cNvPr>
          <p:cNvSpPr/>
          <p:nvPr/>
        </p:nvSpPr>
        <p:spPr>
          <a:xfrm>
            <a:off x="4860000" y="393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inary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1FC4342C-1269-43DA-AC5E-B329F1629E75}"/>
              </a:ext>
            </a:extLst>
          </p:cNvPr>
          <p:cNvSpPr/>
          <p:nvPr/>
        </p:nvSpPr>
        <p:spPr>
          <a:xfrm>
            <a:off x="5580000" y="393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d-hoc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D0D91D79-99C0-4F87-924C-90F084C7D7B7}"/>
              </a:ext>
            </a:extLst>
          </p:cNvPr>
          <p:cNvCxnSpPr/>
          <p:nvPr/>
        </p:nvCxnSpPr>
        <p:spPr>
          <a:xfrm>
            <a:off x="4356000" y="3933000"/>
            <a:ext cx="201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A0CD7589-058D-4D03-B0E5-BE7A67374389}"/>
              </a:ext>
            </a:extLst>
          </p:cNvPr>
          <p:cNvCxnSpPr>
            <a:cxnSpLocks/>
          </p:cNvCxnSpPr>
          <p:nvPr/>
        </p:nvCxnSpPr>
        <p:spPr>
          <a:xfrm>
            <a:off x="5436000" y="4941000"/>
            <a:ext cx="237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hteck 116">
            <a:extLst>
              <a:ext uri="{FF2B5EF4-FFF2-40B4-BE49-F238E27FC236}">
                <a16:creationId xmlns:a16="http://schemas.microsoft.com/office/drawing/2014/main" id="{96F544E8-57B1-4858-A14E-319D74AA3AF0}"/>
              </a:ext>
            </a:extLst>
          </p:cNvPr>
          <p:cNvSpPr/>
          <p:nvPr/>
        </p:nvSpPr>
        <p:spPr>
          <a:xfrm>
            <a:off x="540000" y="6093000"/>
            <a:ext cx="44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*  </a:t>
            </a:r>
            <a:r>
              <a:rPr lang="en-US" sz="1200" b="1" dirty="0">
                <a:solidFill>
                  <a:schemeClr val="tx1"/>
                </a:solidFill>
              </a:rPr>
              <a:t>LHS</a:t>
            </a:r>
            <a:r>
              <a:rPr lang="en-US" sz="1200" dirty="0">
                <a:solidFill>
                  <a:schemeClr val="tx1"/>
                </a:solidFill>
              </a:rPr>
              <a:t> = Left-Hand Side, </a:t>
            </a:r>
            <a:r>
              <a:rPr lang="en-US" sz="1200" b="1" dirty="0">
                <a:solidFill>
                  <a:schemeClr val="tx1"/>
                </a:solidFill>
              </a:rPr>
              <a:t>RHS</a:t>
            </a:r>
            <a:r>
              <a:rPr lang="en-US" sz="1200" dirty="0">
                <a:solidFill>
                  <a:schemeClr val="tx1"/>
                </a:solidFill>
              </a:rPr>
              <a:t> = Right-Hand Side (both in relation to assignment </a:t>
            </a:r>
            <a:r>
              <a:rPr lang="en-US" sz="1200">
                <a:solidFill>
                  <a:schemeClr val="tx1"/>
                </a:solidFill>
              </a:rPr>
              <a:t>symbols such as </a:t>
            </a:r>
            <a:r>
              <a:rPr lang="en-US" sz="1200" dirty="0">
                <a:solidFill>
                  <a:schemeClr val="tx1"/>
                </a:solidFill>
              </a:rPr>
              <a:t>‘</a:t>
            </a:r>
            <a:r>
              <a:rPr lang="en-US" sz="1200" b="1" dirty="0">
                <a:solidFill>
                  <a:srgbClr val="0000FF"/>
                </a:solidFill>
              </a:rPr>
              <a:t>=</a:t>
            </a:r>
            <a:r>
              <a:rPr lang="en-US" sz="1200" dirty="0">
                <a:solidFill>
                  <a:schemeClr val="tx1"/>
                </a:solidFill>
              </a:rPr>
              <a:t>‘</a:t>
            </a:r>
          </a:p>
        </p:txBody>
      </p:sp>
    </p:spTree>
    <p:extLst>
      <p:ext uri="{BB962C8B-B14F-4D97-AF65-F5344CB8AC3E}">
        <p14:creationId xmlns:p14="http://schemas.microsoft.com/office/powerpoint/2010/main" val="1674087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>
            <a:extLst>
              <a:ext uri="{FF2B5EF4-FFF2-40B4-BE49-F238E27FC236}">
                <a16:creationId xmlns:a16="http://schemas.microsoft.com/office/drawing/2014/main" id="{D7C282CA-03E0-432E-90D2-46A21ADDEB6B}"/>
              </a:ext>
            </a:extLst>
          </p:cNvPr>
          <p:cNvSpPr/>
          <p:nvPr/>
        </p:nvSpPr>
        <p:spPr>
          <a:xfrm>
            <a:off x="540000" y="5733000"/>
            <a:ext cx="8496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Basics</a:t>
            </a:r>
          </a:p>
        </p:txBody>
      </p:sp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3DA04AD8-6FFA-4120-B8CB-96631CA4F6EC}"/>
              </a:ext>
            </a:extLst>
          </p:cNvPr>
          <p:cNvSpPr/>
          <p:nvPr/>
        </p:nvSpPr>
        <p:spPr>
          <a:xfrm>
            <a:off x="1958087" y="5229000"/>
            <a:ext cx="6811826" cy="432000"/>
          </a:xfrm>
          <a:custGeom>
            <a:avLst/>
            <a:gdLst>
              <a:gd name="connsiteX0" fmla="*/ 319304 w 6811826"/>
              <a:gd name="connsiteY0" fmla="*/ 0 h 432000"/>
              <a:gd name="connsiteX1" fmla="*/ 6492522 w 6811826"/>
              <a:gd name="connsiteY1" fmla="*/ 0 h 432000"/>
              <a:gd name="connsiteX2" fmla="*/ 6811826 w 6811826"/>
              <a:gd name="connsiteY2" fmla="*/ 432000 h 432000"/>
              <a:gd name="connsiteX3" fmla="*/ 0 w 6811826"/>
              <a:gd name="connsiteY3" fmla="*/ 432000 h 432000"/>
              <a:gd name="connsiteX4" fmla="*/ 319304 w 681182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11826" h="432000">
                <a:moveTo>
                  <a:pt x="319304" y="0"/>
                </a:moveTo>
                <a:lnTo>
                  <a:pt x="6492522" y="0"/>
                </a:lnTo>
                <a:lnTo>
                  <a:pt x="6811826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Freihandform: Form 117">
            <a:extLst>
              <a:ext uri="{FF2B5EF4-FFF2-40B4-BE49-F238E27FC236}">
                <a16:creationId xmlns:a16="http://schemas.microsoft.com/office/drawing/2014/main" id="{D61B8508-F712-4996-95BB-E6F99C77E3AB}"/>
              </a:ext>
            </a:extLst>
          </p:cNvPr>
          <p:cNvSpPr/>
          <p:nvPr/>
        </p:nvSpPr>
        <p:spPr>
          <a:xfrm>
            <a:off x="1692000" y="5728765"/>
            <a:ext cx="7344000" cy="292235"/>
          </a:xfrm>
          <a:custGeom>
            <a:avLst/>
            <a:gdLst>
              <a:gd name="connsiteX0" fmla="*/ 216000 w 7344000"/>
              <a:gd name="connsiteY0" fmla="*/ 0 h 292235"/>
              <a:gd name="connsiteX1" fmla="*/ 216000 w 7344000"/>
              <a:gd name="connsiteY1" fmla="*/ 4235 h 292235"/>
              <a:gd name="connsiteX2" fmla="*/ 7131130 w 7344000"/>
              <a:gd name="connsiteY2" fmla="*/ 4235 h 292235"/>
              <a:gd name="connsiteX3" fmla="*/ 7344000 w 7344000"/>
              <a:gd name="connsiteY3" fmla="*/ 292235 h 292235"/>
              <a:gd name="connsiteX4" fmla="*/ 0 w 7344000"/>
              <a:gd name="connsiteY4" fmla="*/ 292235 h 292235"/>
              <a:gd name="connsiteX5" fmla="*/ 216000 w 7344000"/>
              <a:gd name="connsiteY5" fmla="*/ 0 h 29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44000" h="292235">
                <a:moveTo>
                  <a:pt x="216000" y="0"/>
                </a:moveTo>
                <a:lnTo>
                  <a:pt x="216000" y="4235"/>
                </a:lnTo>
                <a:lnTo>
                  <a:pt x="7131130" y="4235"/>
                </a:lnTo>
                <a:lnTo>
                  <a:pt x="7344000" y="292235"/>
                </a:lnTo>
                <a:lnTo>
                  <a:pt x="0" y="292235"/>
                </a:lnTo>
                <a:lnTo>
                  <a:pt x="216000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Pyramid_Basics.png, LAN_Pyramid_Basic_Types.png</a:t>
            </a:r>
            <a:br>
              <a:rPr lang="en-US" dirty="0"/>
            </a:br>
            <a:endParaRPr lang="en-US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046A89F-E586-4B65-833B-B056A52959D5}"/>
              </a:ext>
            </a:extLst>
          </p:cNvPr>
          <p:cNvSpPr/>
          <p:nvPr/>
        </p:nvSpPr>
        <p:spPr>
          <a:xfrm>
            <a:off x="1908000" y="5661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B2BE8EB-3FF3-4D8B-98EB-75AE6CE91B7F}"/>
              </a:ext>
            </a:extLst>
          </p:cNvPr>
          <p:cNvSpPr/>
          <p:nvPr/>
        </p:nvSpPr>
        <p:spPr>
          <a:xfrm>
            <a:off x="2484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E699835E-791E-4EE6-90C5-4F747C440860}"/>
              </a:ext>
            </a:extLst>
          </p:cNvPr>
          <p:cNvSpPr/>
          <p:nvPr/>
        </p:nvSpPr>
        <p:spPr>
          <a:xfrm>
            <a:off x="3708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297C2DF-28DE-418C-8B2F-3AA00F6A167D}"/>
              </a:ext>
            </a:extLst>
          </p:cNvPr>
          <p:cNvSpPr/>
          <p:nvPr/>
        </p:nvSpPr>
        <p:spPr>
          <a:xfrm>
            <a:off x="5940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ymbols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27ECAD0F-6088-4E3F-A5C6-0A315AC6440A}"/>
              </a:ext>
            </a:extLst>
          </p:cNvPr>
          <p:cNvSpPr/>
          <p:nvPr/>
        </p:nvSpPr>
        <p:spPr>
          <a:xfrm>
            <a:off x="7308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mments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650F46B-68FE-467B-A67C-65354DE5EFC8}"/>
              </a:ext>
            </a:extLst>
          </p:cNvPr>
          <p:cNvSpPr/>
          <p:nvPr/>
        </p:nvSpPr>
        <p:spPr>
          <a:xfrm>
            <a:off x="4860000" y="580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haracter Set</a:t>
            </a:r>
          </a:p>
        </p:txBody>
      </p:sp>
      <p:sp>
        <p:nvSpPr>
          <p:cNvPr id="107" name="Freihandform: Form 106">
            <a:extLst>
              <a:ext uri="{FF2B5EF4-FFF2-40B4-BE49-F238E27FC236}">
                <a16:creationId xmlns:a16="http://schemas.microsoft.com/office/drawing/2014/main" id="{0DDE6D13-B62D-4CEB-8A20-F43F2EEB41CF}"/>
              </a:ext>
            </a:extLst>
          </p:cNvPr>
          <p:cNvSpPr/>
          <p:nvPr/>
        </p:nvSpPr>
        <p:spPr>
          <a:xfrm>
            <a:off x="2330610" y="4725000"/>
            <a:ext cx="6066783" cy="432000"/>
          </a:xfrm>
          <a:custGeom>
            <a:avLst/>
            <a:gdLst>
              <a:gd name="connsiteX0" fmla="*/ 319304 w 6066783"/>
              <a:gd name="connsiteY0" fmla="*/ 0 h 432000"/>
              <a:gd name="connsiteX1" fmla="*/ 5747478 w 6066783"/>
              <a:gd name="connsiteY1" fmla="*/ 0 h 432000"/>
              <a:gd name="connsiteX2" fmla="*/ 6066783 w 6066783"/>
              <a:gd name="connsiteY2" fmla="*/ 432000 h 432000"/>
              <a:gd name="connsiteX3" fmla="*/ 0 w 6066783"/>
              <a:gd name="connsiteY3" fmla="*/ 432000 h 432000"/>
              <a:gd name="connsiteX4" fmla="*/ 319304 w 6066783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6783" h="432000">
                <a:moveTo>
                  <a:pt x="319304" y="0"/>
                </a:moveTo>
                <a:lnTo>
                  <a:pt x="5747478" y="0"/>
                </a:lnTo>
                <a:lnTo>
                  <a:pt x="6066783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A86F7565-72CC-4699-85A8-101E8531EA50}"/>
              </a:ext>
            </a:extLst>
          </p:cNvPr>
          <p:cNvSpPr/>
          <p:nvPr/>
        </p:nvSpPr>
        <p:spPr>
          <a:xfrm>
            <a:off x="2268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Numerals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286942D-6C66-4E0F-919D-41D66046381C}"/>
              </a:ext>
            </a:extLst>
          </p:cNvPr>
          <p:cNvSpPr/>
          <p:nvPr/>
        </p:nvSpPr>
        <p:spPr>
          <a:xfrm>
            <a:off x="3492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ring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AE23512-A30D-47CE-BE31-5F2AB9B6AC97}"/>
              </a:ext>
            </a:extLst>
          </p:cNvPr>
          <p:cNvSpPr/>
          <p:nvPr/>
        </p:nvSpPr>
        <p:spPr>
          <a:xfrm>
            <a:off x="4788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Booleans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033DB8FE-3674-435B-9882-F31D03BE18D4}"/>
              </a:ext>
            </a:extLst>
          </p:cNvPr>
          <p:cNvSpPr/>
          <p:nvPr/>
        </p:nvSpPr>
        <p:spPr>
          <a:xfrm>
            <a:off x="6012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Dates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C840BAC-002B-40C6-8878-25441F472C89}"/>
              </a:ext>
            </a:extLst>
          </p:cNvPr>
          <p:cNvSpPr/>
          <p:nvPr/>
        </p:nvSpPr>
        <p:spPr>
          <a:xfrm>
            <a:off x="4788000" y="5229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Parameter Sets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363D5E4D-08C8-4E33-934F-BF318DC95C44}"/>
              </a:ext>
            </a:extLst>
          </p:cNvPr>
          <p:cNvSpPr/>
          <p:nvPr/>
        </p:nvSpPr>
        <p:spPr>
          <a:xfrm>
            <a:off x="7380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Voids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9979F78-9D8F-4F8E-BA0D-59F765FB8F75}"/>
              </a:ext>
            </a:extLst>
          </p:cNvPr>
          <p:cNvSpPr/>
          <p:nvPr/>
        </p:nvSpPr>
        <p:spPr>
          <a:xfrm>
            <a:off x="6012000" y="47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Variables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1271D7AF-D119-4097-B1ED-4423FDF22A44}"/>
              </a:ext>
            </a:extLst>
          </p:cNvPr>
          <p:cNvSpPr/>
          <p:nvPr/>
        </p:nvSpPr>
        <p:spPr>
          <a:xfrm>
            <a:off x="3348000" y="47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Tables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5CDD8D05-9F41-4657-B094-55ABD9693297}"/>
              </a:ext>
            </a:extLst>
          </p:cNvPr>
          <p:cNvSpPr/>
          <p:nvPr/>
        </p:nvSpPr>
        <p:spPr>
          <a:xfrm>
            <a:off x="5220000" y="49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Arrays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A9A70C9-157F-4194-AD57-1987B407F445}"/>
              </a:ext>
            </a:extLst>
          </p:cNvPr>
          <p:cNvSpPr/>
          <p:nvPr/>
        </p:nvSpPr>
        <p:spPr>
          <a:xfrm>
            <a:off x="6876000" y="49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ructures</a:t>
            </a:r>
          </a:p>
        </p:txBody>
      </p:sp>
      <p:cxnSp>
        <p:nvCxnSpPr>
          <p:cNvPr id="133" name="Gerader Verbinder 132">
            <a:extLst>
              <a:ext uri="{FF2B5EF4-FFF2-40B4-BE49-F238E27FC236}">
                <a16:creationId xmlns:a16="http://schemas.microsoft.com/office/drawing/2014/main" id="{7B043BE6-9E08-4D1E-9E44-266395E42D79}"/>
              </a:ext>
            </a:extLst>
          </p:cNvPr>
          <p:cNvCxnSpPr>
            <a:cxnSpLocks/>
          </p:cNvCxnSpPr>
          <p:nvPr/>
        </p:nvCxnSpPr>
        <p:spPr>
          <a:xfrm>
            <a:off x="5436000" y="4941000"/>
            <a:ext cx="237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F24DA3E5-5973-49FF-8A79-B9A90F04067C}"/>
              </a:ext>
            </a:extLst>
          </p:cNvPr>
          <p:cNvSpPr/>
          <p:nvPr/>
        </p:nvSpPr>
        <p:spPr>
          <a:xfrm>
            <a:off x="540000" y="2997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lues an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Basic Data Types</a:t>
            </a:r>
          </a:p>
        </p:txBody>
      </p:sp>
      <p:sp>
        <p:nvSpPr>
          <p:cNvPr id="138" name="Freihandform: Form 137">
            <a:extLst>
              <a:ext uri="{FF2B5EF4-FFF2-40B4-BE49-F238E27FC236}">
                <a16:creationId xmlns:a16="http://schemas.microsoft.com/office/drawing/2014/main" id="{F8DB258D-3F06-489A-B5E3-E1C41E396DE3}"/>
              </a:ext>
            </a:extLst>
          </p:cNvPr>
          <p:cNvSpPr/>
          <p:nvPr/>
        </p:nvSpPr>
        <p:spPr>
          <a:xfrm>
            <a:off x="1958087" y="2997000"/>
            <a:ext cx="6811826" cy="432000"/>
          </a:xfrm>
          <a:custGeom>
            <a:avLst/>
            <a:gdLst>
              <a:gd name="connsiteX0" fmla="*/ 319304 w 6811826"/>
              <a:gd name="connsiteY0" fmla="*/ 0 h 432000"/>
              <a:gd name="connsiteX1" fmla="*/ 6492522 w 6811826"/>
              <a:gd name="connsiteY1" fmla="*/ 0 h 432000"/>
              <a:gd name="connsiteX2" fmla="*/ 6811826 w 6811826"/>
              <a:gd name="connsiteY2" fmla="*/ 432000 h 432000"/>
              <a:gd name="connsiteX3" fmla="*/ 0 w 6811826"/>
              <a:gd name="connsiteY3" fmla="*/ 432000 h 432000"/>
              <a:gd name="connsiteX4" fmla="*/ 319304 w 681182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11826" h="432000">
                <a:moveTo>
                  <a:pt x="319304" y="0"/>
                </a:moveTo>
                <a:lnTo>
                  <a:pt x="6492522" y="0"/>
                </a:lnTo>
                <a:lnTo>
                  <a:pt x="6811826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9" name="Freihandform: Form 138">
            <a:extLst>
              <a:ext uri="{FF2B5EF4-FFF2-40B4-BE49-F238E27FC236}">
                <a16:creationId xmlns:a16="http://schemas.microsoft.com/office/drawing/2014/main" id="{9D6921AB-BE04-44A8-9F22-6632DEDFC522}"/>
              </a:ext>
            </a:extLst>
          </p:cNvPr>
          <p:cNvSpPr/>
          <p:nvPr/>
        </p:nvSpPr>
        <p:spPr>
          <a:xfrm>
            <a:off x="1692000" y="3496765"/>
            <a:ext cx="7344000" cy="292235"/>
          </a:xfrm>
          <a:custGeom>
            <a:avLst/>
            <a:gdLst>
              <a:gd name="connsiteX0" fmla="*/ 216000 w 7344000"/>
              <a:gd name="connsiteY0" fmla="*/ 0 h 292235"/>
              <a:gd name="connsiteX1" fmla="*/ 216000 w 7344000"/>
              <a:gd name="connsiteY1" fmla="*/ 4235 h 292235"/>
              <a:gd name="connsiteX2" fmla="*/ 7131130 w 7344000"/>
              <a:gd name="connsiteY2" fmla="*/ 4235 h 292235"/>
              <a:gd name="connsiteX3" fmla="*/ 7344000 w 7344000"/>
              <a:gd name="connsiteY3" fmla="*/ 292235 h 292235"/>
              <a:gd name="connsiteX4" fmla="*/ 0 w 7344000"/>
              <a:gd name="connsiteY4" fmla="*/ 292235 h 292235"/>
              <a:gd name="connsiteX5" fmla="*/ 216000 w 7344000"/>
              <a:gd name="connsiteY5" fmla="*/ 0 h 29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44000" h="292235">
                <a:moveTo>
                  <a:pt x="216000" y="0"/>
                </a:moveTo>
                <a:lnTo>
                  <a:pt x="216000" y="4235"/>
                </a:lnTo>
                <a:lnTo>
                  <a:pt x="7131130" y="4235"/>
                </a:lnTo>
                <a:lnTo>
                  <a:pt x="7344000" y="292235"/>
                </a:lnTo>
                <a:lnTo>
                  <a:pt x="0" y="292235"/>
                </a:lnTo>
                <a:lnTo>
                  <a:pt x="21600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BD8FC166-6C88-4ADE-9B02-F4BAB2D6133D}"/>
              </a:ext>
            </a:extLst>
          </p:cNvPr>
          <p:cNvSpPr/>
          <p:nvPr/>
        </p:nvSpPr>
        <p:spPr>
          <a:xfrm>
            <a:off x="1908000" y="3429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C455689-8CC6-4BCD-82E6-EE22DB274823}"/>
              </a:ext>
            </a:extLst>
          </p:cNvPr>
          <p:cNvSpPr/>
          <p:nvPr/>
        </p:nvSpPr>
        <p:spPr>
          <a:xfrm>
            <a:off x="2484000" y="3501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Numbers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A009F-112F-491C-97B8-C17B8197E5D7}"/>
              </a:ext>
            </a:extLst>
          </p:cNvPr>
          <p:cNvSpPr/>
          <p:nvPr/>
        </p:nvSpPr>
        <p:spPr>
          <a:xfrm>
            <a:off x="3708000" y="3501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Text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D46C609-7D6B-4ED5-9A88-A518714E0582}"/>
              </a:ext>
            </a:extLst>
          </p:cNvPr>
          <p:cNvSpPr/>
          <p:nvPr/>
        </p:nvSpPr>
        <p:spPr>
          <a:xfrm>
            <a:off x="5940000" y="3501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ymbols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3A63A697-DB3C-4C85-A253-5BDCDD5275AB}"/>
              </a:ext>
            </a:extLst>
          </p:cNvPr>
          <p:cNvSpPr/>
          <p:nvPr/>
        </p:nvSpPr>
        <p:spPr>
          <a:xfrm>
            <a:off x="7308000" y="3501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Comments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C6C9DEE-E469-4AB2-9BB2-8A155F3EE434}"/>
              </a:ext>
            </a:extLst>
          </p:cNvPr>
          <p:cNvSpPr/>
          <p:nvPr/>
        </p:nvSpPr>
        <p:spPr>
          <a:xfrm>
            <a:off x="4860000" y="3573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Character Set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3D5851DC-BE16-4B04-932F-EE6B21F6B51D}"/>
              </a:ext>
            </a:extLst>
          </p:cNvPr>
          <p:cNvSpPr/>
          <p:nvPr/>
        </p:nvSpPr>
        <p:spPr>
          <a:xfrm>
            <a:off x="2268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Numerals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039AA7C1-4FD2-4773-8B0C-39B1A52A13CF}"/>
              </a:ext>
            </a:extLst>
          </p:cNvPr>
          <p:cNvSpPr/>
          <p:nvPr/>
        </p:nvSpPr>
        <p:spPr>
          <a:xfrm>
            <a:off x="3492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rings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52261CC-1C51-4CA9-9F53-12315DE089AF}"/>
              </a:ext>
            </a:extLst>
          </p:cNvPr>
          <p:cNvSpPr/>
          <p:nvPr/>
        </p:nvSpPr>
        <p:spPr>
          <a:xfrm>
            <a:off x="4788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ooleans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AACA1370-E80A-4DC7-91FC-170EC7FBA719}"/>
              </a:ext>
            </a:extLst>
          </p:cNvPr>
          <p:cNvSpPr/>
          <p:nvPr/>
        </p:nvSpPr>
        <p:spPr>
          <a:xfrm>
            <a:off x="6012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Dates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841B776D-F622-4A09-AEAB-440C9381B17B}"/>
              </a:ext>
            </a:extLst>
          </p:cNvPr>
          <p:cNvSpPr/>
          <p:nvPr/>
        </p:nvSpPr>
        <p:spPr>
          <a:xfrm>
            <a:off x="4788000" y="2997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161098B-7857-4F7D-A7E3-F427864DEA6E}"/>
              </a:ext>
            </a:extLst>
          </p:cNvPr>
          <p:cNvSpPr/>
          <p:nvPr/>
        </p:nvSpPr>
        <p:spPr>
          <a:xfrm>
            <a:off x="7380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Voids</a:t>
            </a:r>
          </a:p>
        </p:txBody>
      </p:sp>
      <p:sp>
        <p:nvSpPr>
          <p:cNvPr id="159" name="Freihandform: Form 158">
            <a:extLst>
              <a:ext uri="{FF2B5EF4-FFF2-40B4-BE49-F238E27FC236}">
                <a16:creationId xmlns:a16="http://schemas.microsoft.com/office/drawing/2014/main" id="{C568D8DE-7121-4BB4-BA9A-9A4E5B5FC7C9}"/>
              </a:ext>
            </a:extLst>
          </p:cNvPr>
          <p:cNvSpPr/>
          <p:nvPr/>
        </p:nvSpPr>
        <p:spPr>
          <a:xfrm>
            <a:off x="2340000" y="2493000"/>
            <a:ext cx="6066783" cy="432000"/>
          </a:xfrm>
          <a:custGeom>
            <a:avLst/>
            <a:gdLst>
              <a:gd name="connsiteX0" fmla="*/ 319304 w 6066783"/>
              <a:gd name="connsiteY0" fmla="*/ 0 h 432000"/>
              <a:gd name="connsiteX1" fmla="*/ 5747478 w 6066783"/>
              <a:gd name="connsiteY1" fmla="*/ 0 h 432000"/>
              <a:gd name="connsiteX2" fmla="*/ 6066783 w 6066783"/>
              <a:gd name="connsiteY2" fmla="*/ 432000 h 432000"/>
              <a:gd name="connsiteX3" fmla="*/ 0 w 6066783"/>
              <a:gd name="connsiteY3" fmla="*/ 432000 h 432000"/>
              <a:gd name="connsiteX4" fmla="*/ 319304 w 6066783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6783" h="432000">
                <a:moveTo>
                  <a:pt x="319304" y="0"/>
                </a:moveTo>
                <a:lnTo>
                  <a:pt x="5747478" y="0"/>
                </a:lnTo>
                <a:lnTo>
                  <a:pt x="6066783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507AC1D-E746-4FE8-9648-0D281864028E}"/>
              </a:ext>
            </a:extLst>
          </p:cNvPr>
          <p:cNvSpPr/>
          <p:nvPr/>
        </p:nvSpPr>
        <p:spPr>
          <a:xfrm>
            <a:off x="6021390" y="249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Variables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43399452-9313-4637-B715-1442B4AF7759}"/>
              </a:ext>
            </a:extLst>
          </p:cNvPr>
          <p:cNvSpPr/>
          <p:nvPr/>
        </p:nvSpPr>
        <p:spPr>
          <a:xfrm>
            <a:off x="3357390" y="249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Tables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F2ECE3F-E2E5-4468-A375-0F5C68E72E10}"/>
              </a:ext>
            </a:extLst>
          </p:cNvPr>
          <p:cNvSpPr/>
          <p:nvPr/>
        </p:nvSpPr>
        <p:spPr>
          <a:xfrm>
            <a:off x="5229390" y="2709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Arrays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348B4609-2A4B-4E83-9B8E-BA5E8FAC432C}"/>
              </a:ext>
            </a:extLst>
          </p:cNvPr>
          <p:cNvSpPr/>
          <p:nvPr/>
        </p:nvSpPr>
        <p:spPr>
          <a:xfrm>
            <a:off x="6885390" y="2709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ructures</a:t>
            </a:r>
          </a:p>
        </p:txBody>
      </p:sp>
      <p:cxnSp>
        <p:nvCxnSpPr>
          <p:cNvPr id="164" name="Gerader Verbinder 163">
            <a:extLst>
              <a:ext uri="{FF2B5EF4-FFF2-40B4-BE49-F238E27FC236}">
                <a16:creationId xmlns:a16="http://schemas.microsoft.com/office/drawing/2014/main" id="{D537A456-8EA4-4E92-855E-729C4CEDE2CC}"/>
              </a:ext>
            </a:extLst>
          </p:cNvPr>
          <p:cNvCxnSpPr>
            <a:cxnSpLocks/>
          </p:cNvCxnSpPr>
          <p:nvPr/>
        </p:nvCxnSpPr>
        <p:spPr>
          <a:xfrm>
            <a:off x="5445390" y="2709000"/>
            <a:ext cx="237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77649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Top_Level.png</a:t>
            </a:r>
            <a:br>
              <a:rPr lang="en-US" dirty="0"/>
            </a:br>
            <a:endParaRPr lang="en-US" dirty="0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6FD1F8A-1E29-4082-BD8E-B68439FB0EC7}"/>
              </a:ext>
            </a:extLst>
          </p:cNvPr>
          <p:cNvSpPr/>
          <p:nvPr/>
        </p:nvSpPr>
        <p:spPr>
          <a:xfrm>
            <a:off x="396000" y="765000"/>
            <a:ext cx="2160000" cy="432000"/>
          </a:xfrm>
          <a:prstGeom prst="rect">
            <a:avLst/>
          </a:prstGeom>
          <a:solidFill>
            <a:srgbClr val="E5E5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4P Program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nd Function Libraries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E1BCBB0-D175-4259-B26F-C597A81DC306}"/>
              </a:ext>
            </a:extLst>
          </p:cNvPr>
          <p:cNvSpPr/>
          <p:nvPr/>
        </p:nvSpPr>
        <p:spPr>
          <a:xfrm>
            <a:off x="2556000" y="1557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locks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3DE79C33-9C3E-4819-BD35-A6EAA83F0B65}"/>
              </a:ext>
            </a:extLst>
          </p:cNvPr>
          <p:cNvSpPr/>
          <p:nvPr/>
        </p:nvSpPr>
        <p:spPr>
          <a:xfrm>
            <a:off x="2556000" y="2277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9E15E5F-9525-4135-821B-6CDE0D1CB24D}"/>
              </a:ext>
            </a:extLst>
          </p:cNvPr>
          <p:cNvSpPr/>
          <p:nvPr/>
        </p:nvSpPr>
        <p:spPr>
          <a:xfrm>
            <a:off x="2556000" y="177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de blocks inside braces </a:t>
            </a:r>
            <a:r>
              <a:rPr lang="en-US" sz="1000" b="1" dirty="0">
                <a:solidFill>
                  <a:schemeClr val="tx1"/>
                </a:solidFill>
              </a:rPr>
              <a:t>{</a:t>
            </a:r>
            <a:r>
              <a:rPr lang="en-US" sz="1000" dirty="0">
                <a:solidFill>
                  <a:schemeClr val="tx1"/>
                </a:solidFill>
              </a:rPr>
              <a:t> … </a:t>
            </a:r>
            <a:r>
              <a:rPr lang="en-US" sz="1000" b="1" dirty="0">
                <a:solidFill>
                  <a:schemeClr val="tx1"/>
                </a:solidFill>
              </a:rPr>
              <a:t>}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DC2FC9AC-EC14-43A0-AB3C-158A9F3C0158}"/>
              </a:ext>
            </a:extLst>
          </p:cNvPr>
          <p:cNvCxnSpPr>
            <a:cxnSpLocks/>
          </p:cNvCxnSpPr>
          <p:nvPr/>
        </p:nvCxnSpPr>
        <p:spPr>
          <a:xfrm>
            <a:off x="684000" y="1773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81E93DEE-B453-4DF5-94E8-73BF4C0D46DA}"/>
              </a:ext>
            </a:extLst>
          </p:cNvPr>
          <p:cNvCxnSpPr>
            <a:cxnSpLocks/>
          </p:cNvCxnSpPr>
          <p:nvPr/>
        </p:nvCxnSpPr>
        <p:spPr>
          <a:xfrm>
            <a:off x="684000" y="1197000"/>
            <a:ext cx="0" cy="1296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EFBFE234-A777-42B3-B97B-9C4B44000D41}"/>
              </a:ext>
            </a:extLst>
          </p:cNvPr>
          <p:cNvCxnSpPr>
            <a:cxnSpLocks/>
          </p:cNvCxnSpPr>
          <p:nvPr/>
        </p:nvCxnSpPr>
        <p:spPr>
          <a:xfrm>
            <a:off x="684000" y="2493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3ABCAEDF-CBB1-465E-8102-CBAACAAA9356}"/>
              </a:ext>
            </a:extLst>
          </p:cNvPr>
          <p:cNvSpPr/>
          <p:nvPr/>
        </p:nvSpPr>
        <p:spPr>
          <a:xfrm>
            <a:off x="5004000" y="981000"/>
            <a:ext cx="3600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Hello World);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Hi );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Ho );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20A55B09-D86E-4FB5-8BE5-BE84F5EAC408}"/>
              </a:ext>
            </a:extLst>
          </p:cNvPr>
          <p:cNvCxnSpPr>
            <a:cxnSpLocks/>
            <a:stCxn id="113" idx="2"/>
            <a:endCxn id="39" idx="0"/>
          </p:cNvCxnSpPr>
          <p:nvPr/>
        </p:nvCxnSpPr>
        <p:spPr>
          <a:xfrm>
            <a:off x="3636000" y="1989000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0C88A69-70FD-476B-BC65-029D09FFCE3F}"/>
              </a:ext>
            </a:extLst>
          </p:cNvPr>
          <p:cNvSpPr/>
          <p:nvPr/>
        </p:nvSpPr>
        <p:spPr>
          <a:xfrm>
            <a:off x="5004000" y="2277000"/>
            <a:ext cx="36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Hello world )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today) )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0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= 5 + 3*2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Result is: ", a[])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AA7BECD8-F4C9-4BB8-A25E-4F37FEEBFF73}"/>
              </a:ext>
            </a:extLst>
          </p:cNvPr>
          <p:cNvSpPr/>
          <p:nvPr/>
        </p:nvSpPr>
        <p:spPr>
          <a:xfrm>
            <a:off x="756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y contain 1 or more Statements and Blocks in any order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363B55E-A0DD-4F04-B26B-EE0CF4163EFB}"/>
              </a:ext>
            </a:extLst>
          </p:cNvPr>
          <p:cNvSpPr/>
          <p:nvPr/>
        </p:nvSpPr>
        <p:spPr>
          <a:xfrm>
            <a:off x="3708000" y="1989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ocks ,ay contain 1 or more statements and (nested) block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4DF15E2-8494-4CD4-97B9-0587F72A4C67}"/>
              </a:ext>
            </a:extLst>
          </p:cNvPr>
          <p:cNvSpPr/>
          <p:nvPr/>
        </p:nvSpPr>
        <p:spPr>
          <a:xfrm>
            <a:off x="2556000" y="249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Delimited with semicolons </a:t>
            </a:r>
            <a:r>
              <a:rPr lang="en-US" sz="1000" b="1" dirty="0">
                <a:solidFill>
                  <a:schemeClr val="tx1"/>
                </a:solidFill>
              </a:rPr>
              <a:t>;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32A9BA3-6FAF-4251-AA22-942116015580}"/>
              </a:ext>
            </a:extLst>
          </p:cNvPr>
          <p:cNvSpPr/>
          <p:nvPr/>
        </p:nvSpPr>
        <p:spPr>
          <a:xfrm>
            <a:off x="5004000" y="765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</a:t>
            </a:r>
          </a:p>
        </p:txBody>
      </p:sp>
    </p:spTree>
    <p:extLst>
      <p:ext uri="{BB962C8B-B14F-4D97-AF65-F5344CB8AC3E}">
        <p14:creationId xmlns:p14="http://schemas.microsoft.com/office/powerpoint/2010/main" val="13540363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Statements.png</a:t>
            </a: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10C88A69-70FD-476B-BC65-029D09FFCE3F}"/>
              </a:ext>
            </a:extLst>
          </p:cNvPr>
          <p:cNvSpPr/>
          <p:nvPr/>
        </p:nvSpPr>
        <p:spPr>
          <a:xfrm>
            <a:off x="5004000" y="1557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Hello world);</a:t>
            </a:r>
          </a:p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t1, test.csv ):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A6DD2971-12C7-4076-9703-01FF69EBDEFA}"/>
              </a:ext>
            </a:extLst>
          </p:cNvPr>
          <p:cNvSpPr/>
          <p:nvPr/>
        </p:nvSpPr>
        <p:spPr>
          <a:xfrm>
            <a:off x="2556000" y="1557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DFFAA0A9-A507-4D93-BE46-511521A5AD92}"/>
              </a:ext>
            </a:extLst>
          </p:cNvPr>
          <p:cNvSpPr/>
          <p:nvPr/>
        </p:nvSpPr>
        <p:spPr>
          <a:xfrm>
            <a:off x="2556000" y="2277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ntrol Flow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97CC6B8-44DF-4D47-9AD5-4CD8C9A16DE7}"/>
              </a:ext>
            </a:extLst>
          </p:cNvPr>
          <p:cNvSpPr/>
          <p:nvPr/>
        </p:nvSpPr>
        <p:spPr>
          <a:xfrm>
            <a:off x="2556000" y="3141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2FBE4BE-F616-46C2-AAC9-63F289AA916F}"/>
              </a:ext>
            </a:extLst>
          </p:cNvPr>
          <p:cNvSpPr/>
          <p:nvPr/>
        </p:nvSpPr>
        <p:spPr>
          <a:xfrm>
            <a:off x="2556000" y="3861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ndalone Ad-hoc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Operations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06031A6-A80A-4A99-9B01-FE3C2619E675}"/>
              </a:ext>
            </a:extLst>
          </p:cNvPr>
          <p:cNvSpPr/>
          <p:nvPr/>
        </p:nvSpPr>
        <p:spPr>
          <a:xfrm>
            <a:off x="2556000" y="4725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ransaction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21071A75-8F58-41AE-A1CD-672864BFBE85}"/>
              </a:ext>
            </a:extLst>
          </p:cNvPr>
          <p:cNvSpPr/>
          <p:nvPr/>
        </p:nvSpPr>
        <p:spPr>
          <a:xfrm>
            <a:off x="5004000" y="2277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ile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a[] &gt; 3)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a[]--, " is still greater than 3");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F460A4C-B249-4F0E-93EF-BBCCCD8A0784}"/>
              </a:ext>
            </a:extLst>
          </p:cNvPr>
          <p:cNvSpPr/>
          <p:nvPr/>
        </p:nvSpPr>
        <p:spPr>
          <a:xfrm>
            <a:off x="5004000" y="3141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[]*2 + 1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Last Name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iller;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377EB056-F8DD-4731-800B-117D8EC57019}"/>
              </a:ext>
            </a:extLst>
          </p:cNvPr>
          <p:cNvSpPr/>
          <p:nvPr/>
        </p:nvSpPr>
        <p:spPr>
          <a:xfrm>
            <a:off x="5004000" y="3861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+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       // Increment by 1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core]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*(3)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// Multiply by 3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F8DF516-9F57-4601-9EBA-31382BB51905}"/>
              </a:ext>
            </a:extLst>
          </p:cNvPr>
          <p:cNvSpPr/>
          <p:nvPr/>
        </p:nvSpPr>
        <p:spPr>
          <a:xfrm>
            <a:off x="5004000" y="4725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&lt;=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b[]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B24D4BB0-2B0E-4020-BE20-40352A0CE595}"/>
              </a:ext>
            </a:extLst>
          </p:cNvPr>
          <p:cNvSpPr/>
          <p:nvPr/>
        </p:nvSpPr>
        <p:spPr>
          <a:xfrm>
            <a:off x="2556000" y="335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o variables and tab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2380098F-B36B-4A3F-AAD5-FD4205B62090}"/>
              </a:ext>
            </a:extLst>
          </p:cNvPr>
          <p:cNvSpPr/>
          <p:nvPr/>
        </p:nvSpPr>
        <p:spPr>
          <a:xfrm>
            <a:off x="2556000" y="5157000"/>
            <a:ext cx="604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nhanced form of assignments using </a:t>
            </a:r>
            <a:r>
              <a:rPr lang="en-US" sz="1000" b="1" dirty="0">
                <a:solidFill>
                  <a:schemeClr val="tx1"/>
                </a:solidFill>
              </a:rPr>
              <a:t>Transaction Operators</a:t>
            </a:r>
            <a:r>
              <a:rPr lang="en-US" sz="1000" dirty="0">
                <a:solidFill>
                  <a:schemeClr val="tx1"/>
                </a:solidFill>
              </a:rPr>
              <a:t> (like </a:t>
            </a:r>
            <a:r>
              <a:rPr lang="en-US" sz="1000" b="1" dirty="0">
                <a:solidFill>
                  <a:srgbClr val="0000FF"/>
                </a:solidFill>
              </a:rPr>
              <a:t>&lt;==</a:t>
            </a:r>
            <a:r>
              <a:rPr lang="en-US" sz="1000" dirty="0">
                <a:solidFill>
                  <a:schemeClr val="tx1"/>
                </a:solidFill>
              </a:rPr>
              <a:t>) which also affect the memb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nd sub-members of variables  well as multiple fields in table row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BCC1096A-708E-49A0-BFA7-53DD19D2F173}"/>
              </a:ext>
            </a:extLst>
          </p:cNvPr>
          <p:cNvSpPr/>
          <p:nvPr/>
        </p:nvSpPr>
        <p:spPr>
          <a:xfrm>
            <a:off x="756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an be one of the following five varieties: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D16472FF-92A5-42AF-AF10-8071C751CE69}"/>
              </a:ext>
            </a:extLst>
          </p:cNvPr>
          <p:cNvSpPr/>
          <p:nvPr/>
        </p:nvSpPr>
        <p:spPr>
          <a:xfrm>
            <a:off x="2556000" y="1989000"/>
            <a:ext cx="59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4P functions being called as procedures, not making use of return values if provided.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DF90F11F-3657-4749-8D2B-091CBD9256BA}"/>
              </a:ext>
            </a:extLst>
          </p:cNvPr>
          <p:cNvSpPr/>
          <p:nvPr/>
        </p:nvSpPr>
        <p:spPr>
          <a:xfrm>
            <a:off x="2556000" y="2709000"/>
            <a:ext cx="597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f, while, for, switch / case, etc. are some of the B4P functions which are called as procedures, an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cide if and how the following statement or block shall be executed. (The </a:t>
            </a:r>
            <a:r>
              <a:rPr lang="en-US" sz="1000" b="1" dirty="0">
                <a:solidFill>
                  <a:schemeClr val="tx1"/>
                </a:solidFill>
              </a:rPr>
              <a:t>--</a:t>
            </a:r>
            <a:r>
              <a:rPr lang="en-US" sz="1000" dirty="0">
                <a:solidFill>
                  <a:schemeClr val="tx1"/>
                </a:solidFill>
              </a:rPr>
              <a:t> is an ad-hoc decrement)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BEFE14AC-3C68-4A2B-BC8B-87812F574905}"/>
              </a:ext>
            </a:extLst>
          </p:cNvPr>
          <p:cNvSpPr/>
          <p:nvPr/>
        </p:nvSpPr>
        <p:spPr>
          <a:xfrm>
            <a:off x="2556000" y="3573000"/>
            <a:ext cx="25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 value (e.g. from a constant, expression, etc.) is assigned to a variable or table entry with the </a:t>
            </a:r>
            <a:r>
              <a:rPr lang="en-US" sz="1000" b="1" dirty="0">
                <a:solidFill>
                  <a:srgbClr val="0000FF"/>
                </a:solidFill>
              </a:rPr>
              <a:t>=</a:t>
            </a:r>
            <a:r>
              <a:rPr lang="en-US" sz="1000" dirty="0">
                <a:solidFill>
                  <a:schemeClr val="tx1"/>
                </a:solidFill>
              </a:rPr>
              <a:t> symbol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440942B-C3C3-43D1-BA40-CAC1784C1598}"/>
              </a:ext>
            </a:extLst>
          </p:cNvPr>
          <p:cNvSpPr/>
          <p:nvPr/>
        </p:nvSpPr>
        <p:spPr>
          <a:xfrm>
            <a:off x="2556000" y="4293000"/>
            <a:ext cx="604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 simple operation (e.g. increment, decrement, scaling, etc.) is applied on 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variable or a table entry.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088ADC96-E6E1-4667-A590-625FDDABF764}"/>
              </a:ext>
            </a:extLst>
          </p:cNvPr>
          <p:cNvSpPr/>
          <p:nvPr/>
        </p:nvSpPr>
        <p:spPr>
          <a:xfrm>
            <a:off x="2556000" y="4941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o variables and table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CB6B7CA-64B3-421C-A804-49F0145B62C1}"/>
              </a:ext>
            </a:extLst>
          </p:cNvPr>
          <p:cNvSpPr/>
          <p:nvPr/>
        </p:nvSpPr>
        <p:spPr>
          <a:xfrm>
            <a:off x="396000" y="765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tements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06FCFC51-5879-4F6B-94C7-B31079943250}"/>
              </a:ext>
            </a:extLst>
          </p:cNvPr>
          <p:cNvCxnSpPr>
            <a:cxnSpLocks/>
          </p:cNvCxnSpPr>
          <p:nvPr/>
        </p:nvCxnSpPr>
        <p:spPr>
          <a:xfrm>
            <a:off x="684000" y="1773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82FC837B-7C24-4CE2-95E3-4D3B87F07330}"/>
              </a:ext>
            </a:extLst>
          </p:cNvPr>
          <p:cNvCxnSpPr>
            <a:cxnSpLocks/>
          </p:cNvCxnSpPr>
          <p:nvPr/>
        </p:nvCxnSpPr>
        <p:spPr>
          <a:xfrm>
            <a:off x="684000" y="1197000"/>
            <a:ext cx="0" cy="3744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2B89A424-A068-464E-85F2-364440806F24}"/>
              </a:ext>
            </a:extLst>
          </p:cNvPr>
          <p:cNvCxnSpPr>
            <a:cxnSpLocks/>
          </p:cNvCxnSpPr>
          <p:nvPr/>
        </p:nvCxnSpPr>
        <p:spPr>
          <a:xfrm>
            <a:off x="684000" y="2493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D721E8CD-BA13-4A1B-A1A6-A0E736B21248}"/>
              </a:ext>
            </a:extLst>
          </p:cNvPr>
          <p:cNvCxnSpPr>
            <a:cxnSpLocks/>
          </p:cNvCxnSpPr>
          <p:nvPr/>
        </p:nvCxnSpPr>
        <p:spPr>
          <a:xfrm>
            <a:off x="684000" y="3357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3E1740EB-B10D-4B81-90F8-06D1653C9FC1}"/>
              </a:ext>
            </a:extLst>
          </p:cNvPr>
          <p:cNvCxnSpPr>
            <a:cxnSpLocks/>
          </p:cNvCxnSpPr>
          <p:nvPr/>
        </p:nvCxnSpPr>
        <p:spPr>
          <a:xfrm>
            <a:off x="684000" y="4077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E5C7423F-D423-42C4-8355-9CEBD68B537F}"/>
              </a:ext>
            </a:extLst>
          </p:cNvPr>
          <p:cNvCxnSpPr>
            <a:cxnSpLocks/>
          </p:cNvCxnSpPr>
          <p:nvPr/>
        </p:nvCxnSpPr>
        <p:spPr>
          <a:xfrm>
            <a:off x="684000" y="4941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91511AC0-5CEE-499C-9D86-EB22E19EB4DE}"/>
              </a:ext>
            </a:extLst>
          </p:cNvPr>
          <p:cNvSpPr/>
          <p:nvPr/>
        </p:nvSpPr>
        <p:spPr>
          <a:xfrm>
            <a:off x="2556000" y="249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A variant of procedure calls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0050787-26AA-4C70-942D-4112605B7352}"/>
              </a:ext>
            </a:extLst>
          </p:cNvPr>
          <p:cNvSpPr/>
          <p:nvPr/>
        </p:nvSpPr>
        <p:spPr>
          <a:xfrm>
            <a:off x="5004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</a:t>
            </a:r>
          </a:p>
        </p:txBody>
      </p:sp>
    </p:spTree>
    <p:extLst>
      <p:ext uri="{BB962C8B-B14F-4D97-AF65-F5344CB8AC3E}">
        <p14:creationId xmlns:p14="http://schemas.microsoft.com/office/powerpoint/2010/main" val="2816801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Assignments.png</a:t>
            </a:r>
            <a:br>
              <a:rPr lang="en-US" dirty="0"/>
            </a:br>
            <a:endParaRPr lang="en-US" dirty="0"/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EFBFE234-A777-42B3-B97B-9C4B44000D41}"/>
              </a:ext>
            </a:extLst>
          </p:cNvPr>
          <p:cNvCxnSpPr>
            <a:cxnSpLocks/>
          </p:cNvCxnSpPr>
          <p:nvPr/>
        </p:nvCxnSpPr>
        <p:spPr>
          <a:xfrm>
            <a:off x="684000" y="1485000"/>
            <a:ext cx="705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CD6ABD94-E5B6-4FE1-919E-4A756D0BE67A}"/>
              </a:ext>
            </a:extLst>
          </p:cNvPr>
          <p:cNvSpPr/>
          <p:nvPr/>
        </p:nvSpPr>
        <p:spPr>
          <a:xfrm>
            <a:off x="396000" y="765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ACD5D2F-9466-46C2-BE68-FB771B55134F}"/>
              </a:ext>
            </a:extLst>
          </p:cNvPr>
          <p:cNvSpPr/>
          <p:nvPr/>
        </p:nvSpPr>
        <p:spPr>
          <a:xfrm>
            <a:off x="396000" y="1629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HS Expressi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Left-Hand Side)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A5C35A6-C202-4799-87C1-FEC2A6E6E514}"/>
              </a:ext>
            </a:extLst>
          </p:cNvPr>
          <p:cNvSpPr/>
          <p:nvPr/>
        </p:nvSpPr>
        <p:spPr>
          <a:xfrm>
            <a:off x="2988000" y="1629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ssignment Symbol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or Assignment Operato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FE43969-344E-4790-ADCE-A2BB49BADBBE}"/>
              </a:ext>
            </a:extLst>
          </p:cNvPr>
          <p:cNvSpPr/>
          <p:nvPr/>
        </p:nvSpPr>
        <p:spPr>
          <a:xfrm>
            <a:off x="5580000" y="1629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RHS Expressi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Right-Hand Side)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DC3BDD63-8417-4E77-8ABA-29991766C581}"/>
              </a:ext>
            </a:extLst>
          </p:cNvPr>
          <p:cNvCxnSpPr>
            <a:cxnSpLocks/>
          </p:cNvCxnSpPr>
          <p:nvPr/>
        </p:nvCxnSpPr>
        <p:spPr>
          <a:xfrm>
            <a:off x="684000" y="1197000"/>
            <a:ext cx="0" cy="288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08278BCF-5D50-463B-9BFF-7F810B6E2EE0}"/>
              </a:ext>
            </a:extLst>
          </p:cNvPr>
          <p:cNvCxnSpPr>
            <a:cxnSpLocks/>
            <a:endCxn id="21" idx="1"/>
          </p:cNvCxnSpPr>
          <p:nvPr/>
        </p:nvCxnSpPr>
        <p:spPr>
          <a:xfrm>
            <a:off x="2556000" y="1845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95B627C-358A-4EC7-939A-4B00634E1B10}"/>
              </a:ext>
            </a:extLst>
          </p:cNvPr>
          <p:cNvCxnSpPr>
            <a:cxnSpLocks/>
          </p:cNvCxnSpPr>
          <p:nvPr/>
        </p:nvCxnSpPr>
        <p:spPr>
          <a:xfrm>
            <a:off x="5148000" y="1845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226E8BC4-EB97-4613-B3B1-2871B43C7114}"/>
              </a:ext>
            </a:extLst>
          </p:cNvPr>
          <p:cNvSpPr/>
          <p:nvPr/>
        </p:nvSpPr>
        <p:spPr>
          <a:xfrm>
            <a:off x="756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ssignments consist of the following sequence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89D22FF-67D3-4B5B-8976-2F25CC8CFF72}"/>
              </a:ext>
            </a:extLst>
          </p:cNvPr>
          <p:cNvSpPr/>
          <p:nvPr/>
        </p:nvSpPr>
        <p:spPr>
          <a:xfrm>
            <a:off x="396000" y="2061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to specify 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variable or table entry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2977F68-7F4D-4C9E-8588-62C40CEE4B1D}"/>
              </a:ext>
            </a:extLst>
          </p:cNvPr>
          <p:cNvSpPr/>
          <p:nvPr/>
        </p:nvSpPr>
        <p:spPr>
          <a:xfrm>
            <a:off x="5580000" y="2061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to specify, retrieve and/o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alculate a value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D99B0301-6E4C-48BF-ACEE-E17BE828AD2F}"/>
              </a:ext>
            </a:extLst>
          </p:cNvPr>
          <p:cNvSpPr/>
          <p:nvPr/>
        </p:nvSpPr>
        <p:spPr>
          <a:xfrm>
            <a:off x="2988000" y="2061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assignment symbol: </a:t>
            </a:r>
            <a:r>
              <a:rPr lang="en-US" sz="1000" b="1" dirty="0">
                <a:solidFill>
                  <a:srgbClr val="0000FF"/>
                </a:solidFill>
              </a:rPr>
              <a:t>=</a:t>
            </a:r>
          </a:p>
          <a:p>
            <a:r>
              <a:rPr lang="en-US" sz="1000" dirty="0">
                <a:solidFill>
                  <a:schemeClr val="tx1"/>
                </a:solidFill>
              </a:rPr>
              <a:t>or preceded by a binary operator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931DDB2-070E-41B6-AE42-46B74B1FB6F3}"/>
              </a:ext>
            </a:extLst>
          </p:cNvPr>
          <p:cNvSpPr/>
          <p:nvPr/>
        </p:nvSpPr>
        <p:spPr>
          <a:xfrm>
            <a:off x="396000" y="2493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 (Simple assignment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C102D107-AC2C-4A2A-AEB5-E9FCF73ED5E8}"/>
              </a:ext>
            </a:extLst>
          </p:cNvPr>
          <p:cNvSpPr/>
          <p:nvPr/>
        </p:nvSpPr>
        <p:spPr>
          <a:xfrm>
            <a:off x="396000" y="2709000"/>
            <a:ext cx="3600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5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able 1:First Name,3] = Mike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3 + a[] * 2; // Assigned: 13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B932074D-067C-43AF-93B1-B237A140835C}"/>
              </a:ext>
            </a:extLst>
          </p:cNvPr>
          <p:cNvSpPr/>
          <p:nvPr/>
        </p:nvSpPr>
        <p:spPr>
          <a:xfrm>
            <a:off x="4068000" y="2493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 (With assignment operators)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2C58D9B2-1600-472D-9EDB-E447A2895348}"/>
              </a:ext>
            </a:extLst>
          </p:cNvPr>
          <p:cNvSpPr/>
          <p:nvPr/>
        </p:nvSpPr>
        <p:spPr>
          <a:xfrm>
            <a:off x="4068000" y="2709000"/>
            <a:ext cx="3600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5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; // Same as a[]= a[] - 2; Equals 3.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] = Hello; b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 World";</a:t>
            </a:r>
          </a:p>
        </p:txBody>
      </p:sp>
    </p:spTree>
    <p:extLst>
      <p:ext uri="{BB962C8B-B14F-4D97-AF65-F5344CB8AC3E}">
        <p14:creationId xmlns:p14="http://schemas.microsoft.com/office/powerpoint/2010/main" val="18413912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706CEEAD-4E9E-4564-912D-BD0F1A60239B}"/>
              </a:ext>
            </a:extLst>
          </p:cNvPr>
          <p:cNvSpPr/>
          <p:nvPr/>
        </p:nvSpPr>
        <p:spPr>
          <a:xfrm>
            <a:off x="3132000" y="1413000"/>
            <a:ext cx="5184000" cy="26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13A46E3-49EA-40D6-B6BB-13C81BA15319}"/>
              </a:ext>
            </a:extLst>
          </p:cNvPr>
          <p:cNvSpPr/>
          <p:nvPr/>
        </p:nvSpPr>
        <p:spPr>
          <a:xfrm>
            <a:off x="7164000" y="3069000"/>
            <a:ext cx="1152000" cy="576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64B8A89A-74F0-49B9-BEE5-CB52E549C4E3}"/>
              </a:ext>
            </a:extLst>
          </p:cNvPr>
          <p:cNvSpPr/>
          <p:nvPr/>
        </p:nvSpPr>
        <p:spPr>
          <a:xfrm>
            <a:off x="3708000" y="3069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FAF3EF7-ECB1-4FA8-9FBF-EA2EB52B0995}"/>
              </a:ext>
            </a:extLst>
          </p:cNvPr>
          <p:cNvSpPr/>
          <p:nvPr/>
        </p:nvSpPr>
        <p:spPr>
          <a:xfrm>
            <a:off x="4860000" y="3069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BA583704-8B95-4A43-99B4-6BC6B6B316D3}"/>
              </a:ext>
            </a:extLst>
          </p:cNvPr>
          <p:cNvSpPr/>
          <p:nvPr/>
        </p:nvSpPr>
        <p:spPr>
          <a:xfrm>
            <a:off x="3708000" y="3285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73001C5-EBBF-4CB2-A520-D98228025B2C}"/>
              </a:ext>
            </a:extLst>
          </p:cNvPr>
          <p:cNvSpPr/>
          <p:nvPr/>
        </p:nvSpPr>
        <p:spPr>
          <a:xfrm>
            <a:off x="4860000" y="3285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E7BAECC-630B-4AD3-A536-0A3BB7554FD6}"/>
              </a:ext>
            </a:extLst>
          </p:cNvPr>
          <p:cNvSpPr/>
          <p:nvPr/>
        </p:nvSpPr>
        <p:spPr>
          <a:xfrm>
            <a:off x="3708000" y="3501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3598A97A-FFF7-4401-AF47-428F444A41EA}"/>
              </a:ext>
            </a:extLst>
          </p:cNvPr>
          <p:cNvSpPr/>
          <p:nvPr/>
        </p:nvSpPr>
        <p:spPr>
          <a:xfrm>
            <a:off x="4860000" y="3501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84589899-8688-4194-BE28-4C34319E6A01}"/>
              </a:ext>
            </a:extLst>
          </p:cNvPr>
          <p:cNvSpPr/>
          <p:nvPr/>
        </p:nvSpPr>
        <p:spPr>
          <a:xfrm>
            <a:off x="6588000" y="1413000"/>
            <a:ext cx="576000" cy="2664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479034C-0BD4-4818-90DB-1C41533DFDE7}"/>
              </a:ext>
            </a:extLst>
          </p:cNvPr>
          <p:cNvSpPr/>
          <p:nvPr/>
        </p:nvSpPr>
        <p:spPr>
          <a:xfrm>
            <a:off x="5436000" y="1701000"/>
            <a:ext cx="576000" cy="144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D26F88C-C519-4826-8307-24E0B1F632EB}"/>
              </a:ext>
            </a:extLst>
          </p:cNvPr>
          <p:cNvSpPr/>
          <p:nvPr/>
        </p:nvSpPr>
        <p:spPr>
          <a:xfrm>
            <a:off x="5436000" y="2493000"/>
            <a:ext cx="576000" cy="432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D46D7B0C-CD5C-4B12-B457-028F23892FBF}"/>
              </a:ext>
            </a:extLst>
          </p:cNvPr>
          <p:cNvSpPr/>
          <p:nvPr/>
        </p:nvSpPr>
        <p:spPr>
          <a:xfrm>
            <a:off x="5436000" y="1485000"/>
            <a:ext cx="576000" cy="144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12670B64-5DC1-4053-AA72-D2604A2125BF}"/>
              </a:ext>
            </a:extLst>
          </p:cNvPr>
          <p:cNvSpPr/>
          <p:nvPr/>
        </p:nvSpPr>
        <p:spPr>
          <a:xfrm>
            <a:off x="3132000" y="2277000"/>
            <a:ext cx="5184000" cy="144000"/>
          </a:xfrm>
          <a:prstGeom prst="rect">
            <a:avLst/>
          </a:pr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D1F2D25-ABE1-4818-8B33-231026119194}"/>
              </a:ext>
            </a:extLst>
          </p:cNvPr>
          <p:cNvSpPr/>
          <p:nvPr/>
        </p:nvSpPr>
        <p:spPr>
          <a:xfrm>
            <a:off x="3708000" y="1557000"/>
            <a:ext cx="576000" cy="144000"/>
          </a:xfrm>
          <a:prstGeom prst="rect">
            <a:avLst/>
          </a:prstGeom>
          <a:solidFill>
            <a:srgbClr val="B7EC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2AF1CC50-E014-473B-9166-66BF4F401249}"/>
              </a:ext>
            </a:extLst>
          </p:cNvPr>
          <p:cNvSpPr/>
          <p:nvPr/>
        </p:nvSpPr>
        <p:spPr>
          <a:xfrm>
            <a:off x="3708000" y="2061000"/>
            <a:ext cx="576000" cy="144000"/>
          </a:xfrm>
          <a:prstGeom prst="rect">
            <a:avLst/>
          </a:pr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C25375C8-02A8-403B-86D9-DF185FAB96AC}"/>
              </a:ext>
            </a:extLst>
          </p:cNvPr>
          <p:cNvSpPr/>
          <p:nvPr/>
        </p:nvSpPr>
        <p:spPr>
          <a:xfrm>
            <a:off x="4860000" y="2061000"/>
            <a:ext cx="1152000" cy="144000"/>
          </a:xfrm>
          <a:prstGeom prst="rect">
            <a:avLst/>
          </a:pr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Tables.png</a:t>
            </a:r>
            <a:br>
              <a:rPr lang="en-US" dirty="0"/>
            </a:b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3ED4B5A5-B74F-409B-B444-4889A1BBB5CD}"/>
              </a:ext>
            </a:extLst>
          </p:cNvPr>
          <p:cNvSpPr/>
          <p:nvPr/>
        </p:nvSpPr>
        <p:spPr>
          <a:xfrm>
            <a:off x="324000" y="1485000"/>
            <a:ext cx="2160000" cy="288000"/>
          </a:xfrm>
          <a:prstGeom prst="rect">
            <a:avLst/>
          </a:prstGeom>
          <a:solidFill>
            <a:srgbClr val="B7EC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Table Access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845053D-E8BC-4208-87F1-7CFD3E8C9182}"/>
              </a:ext>
            </a:extLst>
          </p:cNvPr>
          <p:cNvSpPr/>
          <p:nvPr/>
        </p:nvSpPr>
        <p:spPr>
          <a:xfrm>
            <a:off x="3132000" y="1125000"/>
            <a:ext cx="5184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48D66365-D37C-45BC-B23E-71F347D01CAC}"/>
              </a:ext>
            </a:extLst>
          </p:cNvPr>
          <p:cNvCxnSpPr>
            <a:cxnSpLocks/>
          </p:cNvCxnSpPr>
          <p:nvPr/>
        </p:nvCxnSpPr>
        <p:spPr>
          <a:xfrm flipH="1">
            <a:off x="3132000" y="4077000"/>
            <a:ext cx="518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12BC7B7F-E63B-4202-8BD1-D3D2BB179550}"/>
              </a:ext>
            </a:extLst>
          </p:cNvPr>
          <p:cNvCxnSpPr>
            <a:cxnSpLocks/>
          </p:cNvCxnSpPr>
          <p:nvPr/>
        </p:nvCxnSpPr>
        <p:spPr>
          <a:xfrm flipH="1">
            <a:off x="3132000" y="1125000"/>
            <a:ext cx="518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902CA58C-AA75-4D07-838F-11799D28965F}"/>
              </a:ext>
            </a:extLst>
          </p:cNvPr>
          <p:cNvCxnSpPr>
            <a:cxnSpLocks/>
          </p:cNvCxnSpPr>
          <p:nvPr/>
        </p:nvCxnSpPr>
        <p:spPr>
          <a:xfrm flipH="1">
            <a:off x="3132000" y="1413000"/>
            <a:ext cx="518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203B631C-942B-432D-8B61-B635D8DDA59C}"/>
              </a:ext>
            </a:extLst>
          </p:cNvPr>
          <p:cNvSpPr/>
          <p:nvPr/>
        </p:nvSpPr>
        <p:spPr>
          <a:xfrm>
            <a:off x="2340000" y="1125000"/>
            <a:ext cx="79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Header row</a:t>
            </a:r>
          </a:p>
          <a:p>
            <a:pPr algn="r"/>
            <a:r>
              <a:rPr lang="en-US" sz="1000" dirty="0">
                <a:solidFill>
                  <a:schemeClr val="tx1"/>
                </a:solidFill>
              </a:rPr>
              <a:t>(row 0)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F312EE4-9DB1-4852-A44F-375C657AF82D}"/>
              </a:ext>
            </a:extLst>
          </p:cNvPr>
          <p:cNvSpPr/>
          <p:nvPr/>
        </p:nvSpPr>
        <p:spPr>
          <a:xfrm>
            <a:off x="3132000" y="909000"/>
            <a:ext cx="136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0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ABB56097-DBC1-402E-8CDB-FBFE423B776F}"/>
              </a:ext>
            </a:extLst>
          </p:cNvPr>
          <p:cNvSpPr/>
          <p:nvPr/>
        </p:nvSpPr>
        <p:spPr>
          <a:xfrm>
            <a:off x="3132000" y="112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ommended to use this row for header name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6E7D0383-3014-4FA9-BB4E-BF9BA54A5667}"/>
              </a:ext>
            </a:extLst>
          </p:cNvPr>
          <p:cNvSpPr/>
          <p:nvPr/>
        </p:nvSpPr>
        <p:spPr>
          <a:xfrm>
            <a:off x="324000" y="2061000"/>
            <a:ext cx="2160000" cy="288000"/>
          </a:xfrm>
          <a:prstGeom prst="rect">
            <a:avLst/>
          </a:pr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orizontal Table Access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C5C75F6-33B2-4EDE-B006-0060F2327EA3}"/>
              </a:ext>
            </a:extLst>
          </p:cNvPr>
          <p:cNvSpPr/>
          <p:nvPr/>
        </p:nvSpPr>
        <p:spPr>
          <a:xfrm>
            <a:off x="324000" y="2637000"/>
            <a:ext cx="2160000" cy="288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rtical Table Access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5E122B7-A6D3-4441-9F85-A0AD6AB86F18}"/>
              </a:ext>
            </a:extLst>
          </p:cNvPr>
          <p:cNvSpPr/>
          <p:nvPr/>
        </p:nvSpPr>
        <p:spPr>
          <a:xfrm>
            <a:off x="324000" y="3213000"/>
            <a:ext cx="2160000" cy="288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rix Table Access</a:t>
            </a:r>
          </a:p>
        </p:txBody>
      </p:sp>
      <p:sp>
        <p:nvSpPr>
          <p:cNvPr id="8" name="Gleichschenkliges Dreieck 7">
            <a:extLst>
              <a:ext uri="{FF2B5EF4-FFF2-40B4-BE49-F238E27FC236}">
                <a16:creationId xmlns:a16="http://schemas.microsoft.com/office/drawing/2014/main" id="{889D2F18-1ED3-4699-B6EB-7D9715CEA0EF}"/>
              </a:ext>
            </a:extLst>
          </p:cNvPr>
          <p:cNvSpPr/>
          <p:nvPr/>
        </p:nvSpPr>
        <p:spPr>
          <a:xfrm rot="5400000">
            <a:off x="2556000" y="1485000"/>
            <a:ext cx="288000" cy="288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7">
            <a:extLst>
              <a:ext uri="{FF2B5EF4-FFF2-40B4-BE49-F238E27FC236}">
                <a16:creationId xmlns:a16="http://schemas.microsoft.com/office/drawing/2014/main" id="{2EE81BD3-0A03-432B-BC28-2BFE9870D85F}"/>
              </a:ext>
            </a:extLst>
          </p:cNvPr>
          <p:cNvSpPr/>
          <p:nvPr/>
        </p:nvSpPr>
        <p:spPr>
          <a:xfrm rot="5400000">
            <a:off x="2556000" y="2061000"/>
            <a:ext cx="288000" cy="288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8">
            <a:extLst>
              <a:ext uri="{FF2B5EF4-FFF2-40B4-BE49-F238E27FC236}">
                <a16:creationId xmlns:a16="http://schemas.microsoft.com/office/drawing/2014/main" id="{9E832CBF-6367-4A1B-9DE0-9A3AC016E9CA}"/>
              </a:ext>
            </a:extLst>
          </p:cNvPr>
          <p:cNvSpPr/>
          <p:nvPr/>
        </p:nvSpPr>
        <p:spPr>
          <a:xfrm rot="5400000">
            <a:off x="2556000" y="2637000"/>
            <a:ext cx="288000" cy="288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283CA7DD-F498-4AF7-8AC2-8951C401642B}"/>
              </a:ext>
            </a:extLst>
          </p:cNvPr>
          <p:cNvSpPr/>
          <p:nvPr/>
        </p:nvSpPr>
        <p:spPr>
          <a:xfrm rot="5400000">
            <a:off x="2556000" y="3213000"/>
            <a:ext cx="288000" cy="288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9FBE586E-4B6F-4673-BA29-204C64B2DE17}"/>
              </a:ext>
            </a:extLst>
          </p:cNvPr>
          <p:cNvSpPr/>
          <p:nvPr/>
        </p:nvSpPr>
        <p:spPr>
          <a:xfrm>
            <a:off x="3132000" y="4437000"/>
            <a:ext cx="2160000" cy="432000"/>
          </a:xfrm>
          <a:prstGeom prst="rect">
            <a:avLst/>
          </a:prstGeom>
          <a:solidFill>
            <a:srgbClr val="C1E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tial Table Specifications</a:t>
            </a:r>
          </a:p>
        </p:txBody>
      </p: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23A4939E-7A11-4DE4-ABA5-4A699BA25ED4}"/>
              </a:ext>
            </a:extLst>
          </p:cNvPr>
          <p:cNvGrpSpPr/>
          <p:nvPr/>
        </p:nvGrpSpPr>
        <p:grpSpPr>
          <a:xfrm>
            <a:off x="3132000" y="1125000"/>
            <a:ext cx="5184000" cy="2952000"/>
            <a:chOff x="3132000" y="1125000"/>
            <a:chExt cx="5184000" cy="2808000"/>
          </a:xfrm>
        </p:grpSpPr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F842D469-7273-4A60-A4B8-5BD7647CADB0}"/>
                </a:ext>
              </a:extLst>
            </p:cNvPr>
            <p:cNvCxnSpPr>
              <a:cxnSpLocks/>
            </p:cNvCxnSpPr>
            <p:nvPr/>
          </p:nvCxnSpPr>
          <p:spPr>
            <a:xfrm>
              <a:off x="3132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A4894391-C828-4D75-B11E-96527C1724D4}"/>
                </a:ext>
              </a:extLst>
            </p:cNvPr>
            <p:cNvCxnSpPr>
              <a:cxnSpLocks/>
            </p:cNvCxnSpPr>
            <p:nvPr/>
          </p:nvCxnSpPr>
          <p:spPr>
            <a:xfrm>
              <a:off x="3708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35E8535F-64D6-4F95-AED8-8D390630AA4B}"/>
                </a:ext>
              </a:extLst>
            </p:cNvPr>
            <p:cNvCxnSpPr>
              <a:cxnSpLocks/>
            </p:cNvCxnSpPr>
            <p:nvPr/>
          </p:nvCxnSpPr>
          <p:spPr>
            <a:xfrm>
              <a:off x="4284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02EA09E3-29FD-4B40-BAB8-14FB177F4597}"/>
                </a:ext>
              </a:extLst>
            </p:cNvPr>
            <p:cNvCxnSpPr>
              <a:cxnSpLocks/>
            </p:cNvCxnSpPr>
            <p:nvPr/>
          </p:nvCxnSpPr>
          <p:spPr>
            <a:xfrm>
              <a:off x="4860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6B49EAB6-DBB6-47F2-8C5A-0E730310F041}"/>
                </a:ext>
              </a:extLst>
            </p:cNvPr>
            <p:cNvCxnSpPr>
              <a:cxnSpLocks/>
            </p:cNvCxnSpPr>
            <p:nvPr/>
          </p:nvCxnSpPr>
          <p:spPr>
            <a:xfrm>
              <a:off x="5436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71F89E94-DF9E-4448-8D76-C7306D691158}"/>
                </a:ext>
              </a:extLst>
            </p:cNvPr>
            <p:cNvCxnSpPr>
              <a:cxnSpLocks/>
            </p:cNvCxnSpPr>
            <p:nvPr/>
          </p:nvCxnSpPr>
          <p:spPr>
            <a:xfrm>
              <a:off x="6012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AC2345D7-453F-48DA-9856-BB628BAE4862}"/>
                </a:ext>
              </a:extLst>
            </p:cNvPr>
            <p:cNvCxnSpPr>
              <a:cxnSpLocks/>
            </p:cNvCxnSpPr>
            <p:nvPr/>
          </p:nvCxnSpPr>
          <p:spPr>
            <a:xfrm>
              <a:off x="6588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9441C0AC-0429-4B88-A95F-F3DD8C427E3F}"/>
                </a:ext>
              </a:extLst>
            </p:cNvPr>
            <p:cNvCxnSpPr>
              <a:cxnSpLocks/>
            </p:cNvCxnSpPr>
            <p:nvPr/>
          </p:nvCxnSpPr>
          <p:spPr>
            <a:xfrm>
              <a:off x="7164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42DEA55A-A88E-43ED-9C06-D58243AFDD69}"/>
                </a:ext>
              </a:extLst>
            </p:cNvPr>
            <p:cNvCxnSpPr>
              <a:cxnSpLocks/>
            </p:cNvCxnSpPr>
            <p:nvPr/>
          </p:nvCxnSpPr>
          <p:spPr>
            <a:xfrm>
              <a:off x="7740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39345581-3111-489E-AF08-1B7C443C9F3D}"/>
                </a:ext>
              </a:extLst>
            </p:cNvPr>
            <p:cNvCxnSpPr>
              <a:cxnSpLocks/>
            </p:cNvCxnSpPr>
            <p:nvPr/>
          </p:nvCxnSpPr>
          <p:spPr>
            <a:xfrm>
              <a:off x="8316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4" name="Rechteck 93">
            <a:extLst>
              <a:ext uri="{FF2B5EF4-FFF2-40B4-BE49-F238E27FC236}">
                <a16:creationId xmlns:a16="http://schemas.microsoft.com/office/drawing/2014/main" id="{24082245-76AD-45C5-B1CD-334773C3EE7E}"/>
              </a:ext>
            </a:extLst>
          </p:cNvPr>
          <p:cNvSpPr/>
          <p:nvPr/>
        </p:nvSpPr>
        <p:spPr>
          <a:xfrm>
            <a:off x="324000" y="177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ad / write one single field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DD8028-44B6-4262-B6DF-A3839B907D5C}"/>
              </a:ext>
            </a:extLst>
          </p:cNvPr>
          <p:cNvSpPr/>
          <p:nvPr/>
        </p:nvSpPr>
        <p:spPr>
          <a:xfrm>
            <a:off x="324000" y="2349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ultiple fields in a row, or whole row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59501D39-DC6A-40F2-AC0C-A3E08B8586C6}"/>
              </a:ext>
            </a:extLst>
          </p:cNvPr>
          <p:cNvSpPr/>
          <p:nvPr/>
        </p:nvSpPr>
        <p:spPr>
          <a:xfrm>
            <a:off x="324000" y="2925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ultiple fields in a column, or whole column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BA0CAF0-DF6C-4E8A-A477-40E7F0EA5DD2}"/>
              </a:ext>
            </a:extLst>
          </p:cNvPr>
          <p:cNvSpPr/>
          <p:nvPr/>
        </p:nvSpPr>
        <p:spPr>
          <a:xfrm>
            <a:off x="324000" y="3501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ultiple fields across the table, or entire table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EF0569DC-8B42-4E32-A322-88A2C67D0C05}"/>
              </a:ext>
            </a:extLst>
          </p:cNvPr>
          <p:cNvSpPr/>
          <p:nvPr/>
        </p:nvSpPr>
        <p:spPr>
          <a:xfrm>
            <a:off x="5364000" y="4221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vides a context 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 specified t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 row numb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optionally a column number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20834EA1-5C27-45CE-8593-82B1476477A8}"/>
              </a:ext>
            </a:extLst>
          </p:cNvPr>
          <p:cNvSpPr/>
          <p:nvPr/>
        </p:nvSpPr>
        <p:spPr>
          <a:xfrm>
            <a:off x="3132000" y="465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ifies accessing contents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4543FE51-85C0-4DB1-B928-2096925C9817}"/>
              </a:ext>
            </a:extLst>
          </p:cNvPr>
          <p:cNvSpPr/>
          <p:nvPr/>
        </p:nvSpPr>
        <p:spPr>
          <a:xfrm>
            <a:off x="3132000" y="2637000"/>
            <a:ext cx="5184000" cy="144000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9790E2B3-7045-4D08-9FC1-D3E037BECFC0}"/>
              </a:ext>
            </a:extLst>
          </p:cNvPr>
          <p:cNvCxnSpPr>
            <a:cxnSpLocks/>
          </p:cNvCxnSpPr>
          <p:nvPr/>
        </p:nvCxnSpPr>
        <p:spPr>
          <a:xfrm flipV="1">
            <a:off x="4572000" y="2781000"/>
            <a:ext cx="0" cy="165600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569443BF-A519-4247-9C59-73E0C648B534}"/>
              </a:ext>
            </a:extLst>
          </p:cNvPr>
          <p:cNvSpPr/>
          <p:nvPr/>
        </p:nvSpPr>
        <p:spPr>
          <a:xfrm>
            <a:off x="6948000" y="909000"/>
            <a:ext cx="136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Last Column (-1)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CB76399E-FA26-4202-AA89-BBF7B05A8091}"/>
              </a:ext>
            </a:extLst>
          </p:cNvPr>
          <p:cNvSpPr/>
          <p:nvPr/>
        </p:nvSpPr>
        <p:spPr>
          <a:xfrm>
            <a:off x="2340000" y="3789000"/>
            <a:ext cx="79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Last row</a:t>
            </a:r>
          </a:p>
          <a:p>
            <a:pPr algn="r"/>
            <a:r>
              <a:rPr lang="en-US" sz="1000" dirty="0">
                <a:solidFill>
                  <a:schemeClr val="tx1"/>
                </a:solidFill>
              </a:rPr>
              <a:t>(-1)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0E212DA4-1DC8-441E-A4AE-E36E7513D353}"/>
              </a:ext>
            </a:extLst>
          </p:cNvPr>
          <p:cNvSpPr/>
          <p:nvPr/>
        </p:nvSpPr>
        <p:spPr>
          <a:xfrm>
            <a:off x="324000" y="3861000"/>
            <a:ext cx="2160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b="1" dirty="0">
                <a:solidFill>
                  <a:schemeClr val="tx1"/>
                </a:solidFill>
              </a:rPr>
              <a:t>All contents are stored as text</a:t>
            </a:r>
          </a:p>
          <a:p>
            <a:pPr marL="92075" indent="-92075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utomatic conversion to numeral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ake place if numbers are accessed.</a:t>
            </a:r>
          </a:p>
          <a:p>
            <a:pPr marL="92075" indent="-92075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dditional data type convers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an be activated optionally.</a:t>
            </a:r>
          </a:p>
        </p:txBody>
      </p:sp>
    </p:spTree>
    <p:extLst>
      <p:ext uri="{BB962C8B-B14F-4D97-AF65-F5344CB8AC3E}">
        <p14:creationId xmlns:p14="http://schemas.microsoft.com/office/powerpoint/2010/main" val="4865074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Variables.png</a:t>
            </a:r>
            <a:br>
              <a:rPr lang="en-US" dirty="0"/>
            </a:br>
            <a:endParaRPr lang="en-US" dirty="0"/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883ABDD0-65A6-435D-8B56-90A80D54F324}"/>
              </a:ext>
            </a:extLst>
          </p:cNvPr>
          <p:cNvSpPr/>
          <p:nvPr/>
        </p:nvSpPr>
        <p:spPr>
          <a:xfrm>
            <a:off x="468000" y="4653000"/>
            <a:ext cx="2160000" cy="216000"/>
          </a:xfrm>
          <a:prstGeom prst="rect">
            <a:avLst/>
          </a:prstGeom>
          <a:solidFill>
            <a:srgbClr val="EAB77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Global Variables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686BDFC6-A2B1-471F-B355-21875EFB72A0}"/>
              </a:ext>
            </a:extLst>
          </p:cNvPr>
          <p:cNvSpPr/>
          <p:nvPr/>
        </p:nvSpPr>
        <p:spPr>
          <a:xfrm>
            <a:off x="468000" y="4941000"/>
            <a:ext cx="2160000" cy="216000"/>
          </a:xfrm>
          <a:prstGeom prst="rect">
            <a:avLst/>
          </a:prstGeom>
          <a:solidFill>
            <a:srgbClr val="EA987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Variable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BB9BB94-EF9D-43C6-8228-FA2225AD30E9}"/>
              </a:ext>
            </a:extLst>
          </p:cNvPr>
          <p:cNvSpPr/>
          <p:nvPr/>
        </p:nvSpPr>
        <p:spPr>
          <a:xfrm>
            <a:off x="468000" y="4365000"/>
            <a:ext cx="2160000" cy="216000"/>
          </a:xfrm>
          <a:prstGeom prst="rect">
            <a:avLst/>
          </a:prstGeom>
          <a:solidFill>
            <a:srgbClr val="EAD87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al Variables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3C826A4-3FA7-4950-92B4-D05D1DDFB73B}"/>
              </a:ext>
            </a:extLst>
          </p:cNvPr>
          <p:cNvSpPr/>
          <p:nvPr/>
        </p:nvSpPr>
        <p:spPr>
          <a:xfrm>
            <a:off x="468000" y="4077000"/>
            <a:ext cx="2160000" cy="216000"/>
          </a:xfrm>
          <a:prstGeom prst="rect">
            <a:avLst/>
          </a:prstGeom>
          <a:solidFill>
            <a:srgbClr val="EAEA7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cal Variables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5A38175-2129-4772-8C99-82477AAFEBE9}"/>
              </a:ext>
            </a:extLst>
          </p:cNvPr>
          <p:cNvSpPr/>
          <p:nvPr/>
        </p:nvSpPr>
        <p:spPr>
          <a:xfrm>
            <a:off x="396000" y="3717000"/>
            <a:ext cx="223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 Scope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A7B0EDF8-310D-4BB0-B504-21A9ABC4924E}"/>
              </a:ext>
            </a:extLst>
          </p:cNvPr>
          <p:cNvSpPr/>
          <p:nvPr/>
        </p:nvSpPr>
        <p:spPr>
          <a:xfrm>
            <a:off x="468000" y="2205000"/>
            <a:ext cx="1728000" cy="28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irst Name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74A6E530-5BB8-4944-AC0B-B84C481734EF}"/>
              </a:ext>
            </a:extLst>
          </p:cNvPr>
          <p:cNvSpPr/>
          <p:nvPr/>
        </p:nvSpPr>
        <p:spPr>
          <a:xfrm>
            <a:off x="828000" y="2565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857F6BC8-F97F-4DF2-9710-CCE72C17FD42}"/>
              </a:ext>
            </a:extLst>
          </p:cNvPr>
          <p:cNvSpPr/>
          <p:nvPr/>
        </p:nvSpPr>
        <p:spPr>
          <a:xfrm>
            <a:off x="828000" y="2853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79AFE7B5-2FAB-45B7-B996-465ABDB73428}"/>
              </a:ext>
            </a:extLst>
          </p:cNvPr>
          <p:cNvSpPr/>
          <p:nvPr/>
        </p:nvSpPr>
        <p:spPr>
          <a:xfrm>
            <a:off x="828000" y="3285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i="1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FEC42A58-273E-4921-BDBA-B5CB54876BB3}"/>
              </a:ext>
            </a:extLst>
          </p:cNvPr>
          <p:cNvSpPr/>
          <p:nvPr/>
        </p:nvSpPr>
        <p:spPr>
          <a:xfrm>
            <a:off x="468000" y="1413000"/>
            <a:ext cx="1728000" cy="28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ast Name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293924F-1FFC-4CA9-ACDA-5F7EA62908A7}"/>
              </a:ext>
            </a:extLst>
          </p:cNvPr>
          <p:cNvSpPr/>
          <p:nvPr/>
        </p:nvSpPr>
        <p:spPr>
          <a:xfrm>
            <a:off x="468000" y="119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Variables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013077E-0D0C-4E03-A47C-7727672C9DBA}"/>
              </a:ext>
            </a:extLst>
          </p:cNvPr>
          <p:cNvSpPr/>
          <p:nvPr/>
        </p:nvSpPr>
        <p:spPr>
          <a:xfrm>
            <a:off x="468000" y="1989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253F267-7749-4833-85B3-CE312535C694}"/>
              </a:ext>
            </a:extLst>
          </p:cNvPr>
          <p:cNvSpPr/>
          <p:nvPr/>
        </p:nvSpPr>
        <p:spPr>
          <a:xfrm>
            <a:off x="4428000" y="2205000"/>
            <a:ext cx="1728000" cy="28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obbies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A0C5CA70-B1E2-415B-A1CC-5A05A2FFC509}"/>
              </a:ext>
            </a:extLst>
          </p:cNvPr>
          <p:cNvSpPr/>
          <p:nvPr/>
        </p:nvSpPr>
        <p:spPr>
          <a:xfrm>
            <a:off x="4788000" y="2565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lex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7FC65303-C83E-42EB-8AD9-842EEA94121F}"/>
              </a:ext>
            </a:extLst>
          </p:cNvPr>
          <p:cNvSpPr/>
          <p:nvPr/>
        </p:nvSpPr>
        <p:spPr>
          <a:xfrm>
            <a:off x="4788000" y="2853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Bea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6BD7CA6C-BDAF-4520-9088-EB8D4799AFE1}"/>
              </a:ext>
            </a:extLst>
          </p:cNvPr>
          <p:cNvSpPr/>
          <p:nvPr/>
        </p:nvSpPr>
        <p:spPr>
          <a:xfrm>
            <a:off x="4788000" y="3285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Zoë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07B0E6BF-40BE-4E63-A0B1-48BD47E1A164}"/>
              </a:ext>
            </a:extLst>
          </p:cNvPr>
          <p:cNvSpPr/>
          <p:nvPr/>
        </p:nvSpPr>
        <p:spPr>
          <a:xfrm>
            <a:off x="4428000" y="1989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89FA78-F0CE-4368-85B8-69C621CE13F6}"/>
              </a:ext>
            </a:extLst>
          </p:cNvPr>
          <p:cNvSpPr/>
          <p:nvPr/>
        </p:nvSpPr>
        <p:spPr>
          <a:xfrm>
            <a:off x="2268000" y="2205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Base Variable Nam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86446C3-008A-4668-A3A3-1A7CB4A22F42}"/>
              </a:ext>
            </a:extLst>
          </p:cNvPr>
          <p:cNvSpPr/>
          <p:nvPr/>
        </p:nvSpPr>
        <p:spPr>
          <a:xfrm>
            <a:off x="6228000" y="2205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Base Variable Name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62EC032-A5A4-46ED-A02C-E59ADEE95410}"/>
              </a:ext>
            </a:extLst>
          </p:cNvPr>
          <p:cNvSpPr/>
          <p:nvPr/>
        </p:nvSpPr>
        <p:spPr>
          <a:xfrm>
            <a:off x="2628000" y="256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Index number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0C92636E-79B5-476E-9DFE-4D8F7042E835}"/>
              </a:ext>
            </a:extLst>
          </p:cNvPr>
          <p:cNvSpPr/>
          <p:nvPr/>
        </p:nvSpPr>
        <p:spPr>
          <a:xfrm>
            <a:off x="2628000" y="292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0ED89430-8BC4-4BE0-8316-A2A98DEFA25B}"/>
              </a:ext>
            </a:extLst>
          </p:cNvPr>
          <p:cNvSpPr/>
          <p:nvPr/>
        </p:nvSpPr>
        <p:spPr>
          <a:xfrm>
            <a:off x="2628000" y="328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3BC9655-F5FD-440E-959D-F56B6B32951D}"/>
              </a:ext>
            </a:extLst>
          </p:cNvPr>
          <p:cNvSpPr/>
          <p:nvPr/>
        </p:nvSpPr>
        <p:spPr>
          <a:xfrm>
            <a:off x="6588000" y="256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Member Name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5F960E5-E2ED-434B-AB5A-3AC5F70F4679}"/>
              </a:ext>
            </a:extLst>
          </p:cNvPr>
          <p:cNvSpPr/>
          <p:nvPr/>
        </p:nvSpPr>
        <p:spPr>
          <a:xfrm>
            <a:off x="6588000" y="292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53607AE4-33E1-487E-B5EF-B34F216A59B1}"/>
              </a:ext>
            </a:extLst>
          </p:cNvPr>
          <p:cNvSpPr/>
          <p:nvPr/>
        </p:nvSpPr>
        <p:spPr>
          <a:xfrm>
            <a:off x="6588000" y="328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E7AE17C7-355C-4977-B5E5-0A3CB3BF34E3}"/>
              </a:ext>
            </a:extLst>
          </p:cNvPr>
          <p:cNvSpPr/>
          <p:nvPr/>
        </p:nvSpPr>
        <p:spPr>
          <a:xfrm>
            <a:off x="828000" y="3069000"/>
            <a:ext cx="136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FC6AD87-0A94-49DF-9B70-55103B70F884}"/>
              </a:ext>
            </a:extLst>
          </p:cNvPr>
          <p:cNvSpPr/>
          <p:nvPr/>
        </p:nvSpPr>
        <p:spPr>
          <a:xfrm>
            <a:off x="4788000" y="3069000"/>
            <a:ext cx="136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52AF3196-AF46-479C-AB9C-3CCCC02DF404}"/>
              </a:ext>
            </a:extLst>
          </p:cNvPr>
          <p:cNvSpPr/>
          <p:nvPr/>
        </p:nvSpPr>
        <p:spPr>
          <a:xfrm>
            <a:off x="4428000" y="1413000"/>
            <a:ext cx="1728000" cy="28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y Accounts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64B5EB9-D1B1-4781-8B9F-DE711926743C}"/>
              </a:ext>
            </a:extLst>
          </p:cNvPr>
          <p:cNvSpPr/>
          <p:nvPr/>
        </p:nvSpPr>
        <p:spPr>
          <a:xfrm>
            <a:off x="4428000" y="119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Zero Members Variables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6E235CC-E737-4AF1-AED3-DF9A28195D4D}"/>
              </a:ext>
            </a:extLst>
          </p:cNvPr>
          <p:cNvSpPr/>
          <p:nvPr/>
        </p:nvSpPr>
        <p:spPr>
          <a:xfrm>
            <a:off x="4428000" y="1701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Like simple variables, but associated with 0 members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86674185-551B-4EBF-AD25-791BE31328D9}"/>
              </a:ext>
            </a:extLst>
          </p:cNvPr>
          <p:cNvSpPr/>
          <p:nvPr/>
        </p:nvSpPr>
        <p:spPr>
          <a:xfrm>
            <a:off x="2700000" y="4365000"/>
            <a:ext cx="47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Local variables can be made accessible to further functions called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4F7391EF-7FF2-45F3-A787-211B1402DFEA}"/>
              </a:ext>
            </a:extLst>
          </p:cNvPr>
          <p:cNvSpPr/>
          <p:nvPr/>
        </p:nvSpPr>
        <p:spPr>
          <a:xfrm>
            <a:off x="2700000" y="4077000"/>
            <a:ext cx="47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Variables defined locally in inside user functions and procedures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7500411B-2F12-4268-A9EB-494D30033C31}"/>
              </a:ext>
            </a:extLst>
          </p:cNvPr>
          <p:cNvSpPr/>
          <p:nvPr/>
        </p:nvSpPr>
        <p:spPr>
          <a:xfrm>
            <a:off x="2700000" y="4653000"/>
            <a:ext cx="47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Variables accessible all time from anywhere in the program code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3CDF3E06-5EEC-4DB9-A4C6-586AD58DC7C9}"/>
              </a:ext>
            </a:extLst>
          </p:cNvPr>
          <p:cNvSpPr/>
          <p:nvPr/>
        </p:nvSpPr>
        <p:spPr>
          <a:xfrm>
            <a:off x="2700000" y="4941000"/>
            <a:ext cx="47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Reserved variables, globally accessible.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5FC280AD-1F25-4164-9E1F-205D0794CD27}"/>
              </a:ext>
            </a:extLst>
          </p:cNvPr>
          <p:cNvSpPr/>
          <p:nvPr/>
        </p:nvSpPr>
        <p:spPr>
          <a:xfrm>
            <a:off x="2268000" y="1413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Base Variable Name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77551AC2-6B8E-4C0F-8797-CC45560EFF21}"/>
              </a:ext>
            </a:extLst>
          </p:cNvPr>
          <p:cNvSpPr/>
          <p:nvPr/>
        </p:nvSpPr>
        <p:spPr>
          <a:xfrm>
            <a:off x="6228000" y="1413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Base Variable Name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1FEB9D5D-B435-47F5-8BAC-4522C256C21E}"/>
              </a:ext>
            </a:extLst>
          </p:cNvPr>
          <p:cNvSpPr/>
          <p:nvPr/>
        </p:nvSpPr>
        <p:spPr>
          <a:xfrm>
            <a:off x="396000" y="837000"/>
            <a:ext cx="223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 Forms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AC7B4E1E-5B7B-4BA5-B8F0-7A81C67BC828}"/>
              </a:ext>
            </a:extLst>
          </p:cNvPr>
          <p:cNvSpPr/>
          <p:nvPr/>
        </p:nvSpPr>
        <p:spPr>
          <a:xfrm rot="16200000">
            <a:off x="0" y="3033000"/>
            <a:ext cx="122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95ADC085-2DC5-4678-89CA-9818B81AF463}"/>
              </a:ext>
            </a:extLst>
          </p:cNvPr>
          <p:cNvSpPr/>
          <p:nvPr/>
        </p:nvSpPr>
        <p:spPr>
          <a:xfrm rot="16200000">
            <a:off x="4032000" y="3033000"/>
            <a:ext cx="122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F61C16DB-80F9-4B61-981D-2B4320A3A0DC}"/>
              </a:ext>
            </a:extLst>
          </p:cNvPr>
          <p:cNvSpPr/>
          <p:nvPr/>
        </p:nvSpPr>
        <p:spPr>
          <a:xfrm>
            <a:off x="4428000" y="5805000"/>
            <a:ext cx="208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tection Settings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32BE120D-3045-4462-8DE4-38EAFDB2F6D3}"/>
              </a:ext>
            </a:extLst>
          </p:cNvPr>
          <p:cNvSpPr/>
          <p:nvPr/>
        </p:nvSpPr>
        <p:spPr>
          <a:xfrm>
            <a:off x="468000" y="5805000"/>
            <a:ext cx="208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ferences to Variables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91B3492-49E5-4EAB-AB2D-4735FA5554D6}"/>
              </a:ext>
            </a:extLst>
          </p:cNvPr>
          <p:cNvSpPr/>
          <p:nvPr/>
        </p:nvSpPr>
        <p:spPr>
          <a:xfrm>
            <a:off x="396000" y="1125000"/>
            <a:ext cx="8208000" cy="244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0DC3E93-A1DB-41B8-BBC5-831CFAC38B7B}"/>
              </a:ext>
            </a:extLst>
          </p:cNvPr>
          <p:cNvSpPr/>
          <p:nvPr/>
        </p:nvSpPr>
        <p:spPr>
          <a:xfrm>
            <a:off x="396000" y="4005000"/>
            <a:ext cx="820800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CB939A9-FD43-4646-B5C4-15FDE88BF907}"/>
              </a:ext>
            </a:extLst>
          </p:cNvPr>
          <p:cNvSpPr/>
          <p:nvPr/>
        </p:nvSpPr>
        <p:spPr>
          <a:xfrm>
            <a:off x="396000" y="5373000"/>
            <a:ext cx="2160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ther Features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41A02E5-EF2F-4475-BF2C-129AEE8B6E62}"/>
              </a:ext>
            </a:extLst>
          </p:cNvPr>
          <p:cNvSpPr/>
          <p:nvPr/>
        </p:nvSpPr>
        <p:spPr>
          <a:xfrm>
            <a:off x="396000" y="5661000"/>
            <a:ext cx="8208000" cy="64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90CA9FC4-F5F0-4562-A436-935C389A3F88}"/>
              </a:ext>
            </a:extLst>
          </p:cNvPr>
          <p:cNvSpPr/>
          <p:nvPr/>
        </p:nvSpPr>
        <p:spPr>
          <a:xfrm>
            <a:off x="2628000" y="5661000"/>
            <a:ext cx="201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Create simple referenc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to access existing</a:t>
            </a:r>
          </a:p>
          <a:p>
            <a:r>
              <a:rPr lang="en-US" sz="1200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5F92431B-D8F5-48B3-BAEF-513C7191DFC2}"/>
              </a:ext>
            </a:extLst>
          </p:cNvPr>
          <p:cNvSpPr/>
          <p:nvPr/>
        </p:nvSpPr>
        <p:spPr>
          <a:xfrm>
            <a:off x="6588000" y="5661000"/>
            <a:ext cx="201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pply protection settings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order to avoid</a:t>
            </a:r>
          </a:p>
          <a:p>
            <a:r>
              <a:rPr lang="en-US" sz="1200" dirty="0">
                <a:solidFill>
                  <a:schemeClr val="tx1"/>
                </a:solidFill>
              </a:rPr>
              <a:t>accidental problems</a:t>
            </a:r>
          </a:p>
        </p:txBody>
      </p:sp>
    </p:spTree>
    <p:extLst>
      <p:ext uri="{BB962C8B-B14F-4D97-AF65-F5344CB8AC3E}">
        <p14:creationId xmlns:p14="http://schemas.microsoft.com/office/powerpoint/2010/main" val="36135401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925</Words>
  <Application>Microsoft Office PowerPoint</Application>
  <PresentationFormat>Bildschirmpräsentation (4:3)</PresentationFormat>
  <Paragraphs>448</Paragraphs>
  <Slides>11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8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How to to create PNG (or JPG) files in a unique way</vt:lpstr>
      <vt:lpstr>Variable Model Introduction</vt:lpstr>
      <vt:lpstr>Functions Overview LAN_Pyramid_Basics.png </vt:lpstr>
      <vt:lpstr>Functions Overview LAN_Pyramid_Basics.png, LAN_Pyramid_Basic_Types.png </vt:lpstr>
      <vt:lpstr>Functions Overview LAN_Top_Level.png </vt:lpstr>
      <vt:lpstr>Functions Overview LAN_Statements.png  </vt:lpstr>
      <vt:lpstr>Functions Overview LAN_Assignments.png </vt:lpstr>
      <vt:lpstr>Tables LAN_Tables.png </vt:lpstr>
      <vt:lpstr>Tables LAN_Variables.png </vt:lpstr>
      <vt:lpstr>Functions Overview </vt:lpstr>
      <vt:lpstr>Functions Overview 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Autor*in</cp:lastModifiedBy>
  <cp:revision>620</cp:revision>
  <cp:lastPrinted>2014-03-14T08:12:43Z</cp:lastPrinted>
  <dcterms:created xsi:type="dcterms:W3CDTF">2013-11-22T07:35:27Z</dcterms:created>
  <dcterms:modified xsi:type="dcterms:W3CDTF">2022-04-24T20:10:01Z</dcterms:modified>
</cp:coreProperties>
</file>